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wdp" ContentType="image/vnd.ms-photo"/>
  <Default Extension="vml" ContentType="application/vnd.openxmlformats-officedocument.vmlDrawing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38" r:id="rId1"/>
  </p:sldMasterIdLst>
  <p:notesMasterIdLst>
    <p:notesMasterId r:id="rId11"/>
  </p:notesMasterIdLst>
  <p:handoutMasterIdLst>
    <p:handoutMasterId r:id="rId12"/>
  </p:handoutMasterIdLst>
  <p:sldIdLst>
    <p:sldId id="457" r:id="rId2"/>
    <p:sldId id="459" r:id="rId3"/>
    <p:sldId id="464" r:id="rId4"/>
    <p:sldId id="394" r:id="rId5"/>
    <p:sldId id="468" r:id="rId6"/>
    <p:sldId id="460" r:id="rId7"/>
    <p:sldId id="461" r:id="rId8"/>
    <p:sldId id="463" r:id="rId9"/>
    <p:sldId id="465" r:id="rId10"/>
  </p:sldIdLst>
  <p:sldSz cx="9144000" cy="5143500" type="screen16x9"/>
  <p:notesSz cx="6815138" cy="9944100"/>
  <p:defaultTextStyle>
    <a:defPPr>
      <a:defRPr lang="ru-RU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33399"/>
    <a:srgbClr val="666699"/>
    <a:srgbClr val="1D817F"/>
    <a:srgbClr val="8497B0"/>
    <a:srgbClr val="1269AC"/>
    <a:srgbClr val="FFFFFF"/>
    <a:srgbClr val="996633"/>
    <a:srgbClr val="0099CC"/>
    <a:srgbClr val="00CCFF"/>
    <a:srgbClr val="0099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5975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-456" y="-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53969" cy="499272"/>
          </a:xfrm>
          <a:prstGeom prst="rect">
            <a:avLst/>
          </a:prstGeom>
        </p:spPr>
        <p:txBody>
          <a:bodyPr vert="horz" lIns="91597" tIns="45797" rIns="91597" bIns="4579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9578" y="3"/>
            <a:ext cx="2953969" cy="499272"/>
          </a:xfrm>
          <a:prstGeom prst="rect">
            <a:avLst/>
          </a:prstGeom>
        </p:spPr>
        <p:txBody>
          <a:bodyPr vert="horz" lIns="91597" tIns="45797" rIns="91597" bIns="45797" rtlCol="0"/>
          <a:lstStyle>
            <a:lvl1pPr algn="r">
              <a:defRPr sz="1200"/>
            </a:lvl1pPr>
          </a:lstStyle>
          <a:p>
            <a:fld id="{114EC1FC-27D4-44B5-BC72-97DE9D411405}" type="datetimeFigureOut">
              <a:rPr lang="ru-RU" smtClean="0"/>
              <a:pPr/>
              <a:t>29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4828"/>
            <a:ext cx="2953969" cy="499272"/>
          </a:xfrm>
          <a:prstGeom prst="rect">
            <a:avLst/>
          </a:prstGeom>
        </p:spPr>
        <p:txBody>
          <a:bodyPr vert="horz" lIns="91597" tIns="45797" rIns="91597" bIns="4579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9578" y="9444828"/>
            <a:ext cx="2953969" cy="499272"/>
          </a:xfrm>
          <a:prstGeom prst="rect">
            <a:avLst/>
          </a:prstGeom>
        </p:spPr>
        <p:txBody>
          <a:bodyPr vert="horz" lIns="91597" tIns="45797" rIns="91597" bIns="45797" rtlCol="0" anchor="b"/>
          <a:lstStyle>
            <a:lvl1pPr algn="r">
              <a:defRPr sz="1200"/>
            </a:lvl1pPr>
          </a:lstStyle>
          <a:p>
            <a:fld id="{69241CA7-BA07-4350-811B-D49F8C50A64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310363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53226" cy="498932"/>
          </a:xfrm>
          <a:prstGeom prst="rect">
            <a:avLst/>
          </a:prstGeom>
        </p:spPr>
        <p:txBody>
          <a:bodyPr vert="horz" lIns="91597" tIns="45797" rIns="91597" bIns="4579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0337" y="0"/>
            <a:ext cx="2953226" cy="498932"/>
          </a:xfrm>
          <a:prstGeom prst="rect">
            <a:avLst/>
          </a:prstGeom>
        </p:spPr>
        <p:txBody>
          <a:bodyPr vert="horz" lIns="91597" tIns="45797" rIns="91597" bIns="45797" rtlCol="0"/>
          <a:lstStyle>
            <a:lvl1pPr algn="r">
              <a:defRPr sz="1200"/>
            </a:lvl1pPr>
          </a:lstStyle>
          <a:p>
            <a:fld id="{54460BB4-ED1F-43E9-987B-B3D004876374}" type="datetimeFigureOut">
              <a:rPr lang="ru-RU" smtClean="0"/>
              <a:pPr/>
              <a:t>29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7412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7" tIns="45797" rIns="91597" bIns="4579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515" y="4785600"/>
            <a:ext cx="5452110" cy="3915490"/>
          </a:xfrm>
          <a:prstGeom prst="rect">
            <a:avLst/>
          </a:prstGeom>
        </p:spPr>
        <p:txBody>
          <a:bodyPr vert="horz" lIns="91597" tIns="45797" rIns="91597" bIns="4579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45169"/>
            <a:ext cx="2953226" cy="498931"/>
          </a:xfrm>
          <a:prstGeom prst="rect">
            <a:avLst/>
          </a:prstGeom>
        </p:spPr>
        <p:txBody>
          <a:bodyPr vert="horz" lIns="91597" tIns="45797" rIns="91597" bIns="4579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0337" y="9445169"/>
            <a:ext cx="2953226" cy="498931"/>
          </a:xfrm>
          <a:prstGeom prst="rect">
            <a:avLst/>
          </a:prstGeom>
        </p:spPr>
        <p:txBody>
          <a:bodyPr vert="horz" lIns="91597" tIns="45797" rIns="91597" bIns="45797" rtlCol="0" anchor="b"/>
          <a:lstStyle>
            <a:lvl1pPr algn="r">
              <a:defRPr sz="1200"/>
            </a:lvl1pPr>
          </a:lstStyle>
          <a:p>
            <a:fld id="{3D247DD9-C588-4D3E-A1B3-F5353445932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0048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902648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4083513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891345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07857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31265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962127" y="4980521"/>
            <a:ext cx="92974" cy="938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35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35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7080" y="125687"/>
            <a:ext cx="8769841" cy="43581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spcAft>
                <a:spcPts val="166"/>
              </a:spcAft>
              <a:buFontTx/>
              <a:buNone/>
              <a:defRPr sz="1800" b="1">
                <a:latin typeface="Century Gothic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187081" y="561501"/>
            <a:ext cx="8769841" cy="34289"/>
            <a:chOff x="103189" y="1021080"/>
            <a:chExt cx="9500661" cy="45719"/>
          </a:xfrm>
          <a:solidFill>
            <a:schemeClr val="bg1">
              <a:lumMod val="50000"/>
            </a:schemeClr>
          </a:solidFill>
        </p:grpSpPr>
        <p:sp>
          <p:nvSpPr>
            <p:cNvPr id="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52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6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41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36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31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26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2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15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10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05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00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95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9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84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9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74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9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63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958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453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948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443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937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432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927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422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917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412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906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01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896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391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886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380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875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370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865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360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854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349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844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339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834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329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823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318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813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308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803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297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792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287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782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277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771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266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761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256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751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245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740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235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730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225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720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214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709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204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699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194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688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183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678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173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668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162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657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152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647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142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636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131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626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121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616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111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605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100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595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090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585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0798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5746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0695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5643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0591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5539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0487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5435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0383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533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027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522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017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512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007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502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996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491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986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481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976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470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965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460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955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450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944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439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934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429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924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418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913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408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903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398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893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387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882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377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872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367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861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356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851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346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841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335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30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325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820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315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810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304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799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294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789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284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778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273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768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263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758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252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747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242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737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232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26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221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716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211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706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201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695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190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685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180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675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169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664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159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654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149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643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138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633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128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23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117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612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107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602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097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592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086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581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076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571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066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56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680911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/>
          <p:cNvSpPr txBox="1">
            <a:spLocks/>
          </p:cNvSpPr>
          <p:nvPr userDrawn="1"/>
        </p:nvSpPr>
        <p:spPr bwMode="auto">
          <a:xfrm>
            <a:off x="8962127" y="4980521"/>
            <a:ext cx="92974" cy="9387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35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35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187081" y="561501"/>
            <a:ext cx="8769841" cy="34289"/>
            <a:chOff x="103189" y="1021080"/>
            <a:chExt cx="9500661" cy="45719"/>
          </a:xfrm>
          <a:solidFill>
            <a:schemeClr val="bg1">
              <a:lumMod val="50000"/>
            </a:schemeClr>
          </a:solidFill>
        </p:grpSpPr>
        <p:sp>
          <p:nvSpPr>
            <p:cNvPr id="1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52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6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41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36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31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26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2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15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10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05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00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95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9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84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9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74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9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63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958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453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0948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443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1937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432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2927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422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3917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412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4906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401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5896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391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6886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380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7875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370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8865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360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19854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349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0844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339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1834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329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2823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318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3813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308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4803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297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5792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287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6782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277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7771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266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8761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256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29751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245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0740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235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1730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225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2720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214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3709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204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4699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194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5688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183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6678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173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7668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162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8657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152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39647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142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0636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131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1626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121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2616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111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3605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100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4595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090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5585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0798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65746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0695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75643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0591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85539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0487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495435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0383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05331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0279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15227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0176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25124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0072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502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39968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4916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49864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4812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59760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4708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69657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4605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79553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4501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89449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4397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599345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4293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09241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4189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19138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4086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29034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3982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38930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3878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48826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3774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58722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3670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68619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3567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78515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3463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88411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3359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698307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3255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08203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3151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18100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3048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27996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2944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37892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2840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47788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2736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57684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2632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67581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2529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77477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2425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87373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6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2321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797269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2217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07165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2113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17062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2010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26958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1906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36854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1802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46750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1698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56646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1594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66543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1491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76439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1387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86335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1283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896231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1179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061278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3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10759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4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160240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5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09721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6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259202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7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0868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8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358164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9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07645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0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457126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1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06607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2" name="Graphic 1">
              <a:extLst>
                <a:ext uri="{FF2B5EF4-FFF2-40B4-BE49-F238E27FC236}">
                  <a16:creationId xmlns="" xmlns:a16="http://schemas.microsoft.com/office/drawing/2014/main" id="{F5494A8C-C11E-4ED2-A074-812CE2127AE2}"/>
                </a:ext>
              </a:extLst>
            </p:cNvPr>
            <p:cNvSpPr/>
            <p:nvPr/>
          </p:nvSpPr>
          <p:spPr bwMode="auto">
            <a:xfrm rot="16200000" flipH="1">
              <a:off x="9556103" y="1019052"/>
              <a:ext cx="45719" cy="49775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grpFill/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35342" eaLnBrk="0" hangingPunct="0">
                <a:defRPr/>
              </a:pPr>
              <a:endParaRPr lang="ru-RU" sz="1219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03" name="Content Placeholder 5">
            <a:extLst>
              <a:ext uri="{FF2B5EF4-FFF2-40B4-BE49-F238E27FC236}">
                <a16:creationId xmlns=""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87080" y="125687"/>
            <a:ext cx="8769841" cy="43581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spcAft>
                <a:spcPts val="166"/>
              </a:spcAft>
              <a:buFontTx/>
              <a:buNone/>
              <a:defRPr sz="1800" b="1">
                <a:latin typeface="Century Gothic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767232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5C2C38-CD05-49DA-BB2A-90CF37ABC36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423709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52174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="" xmlns:a16="http://schemas.microsoft.com/office/drawing/2014/main" id="{20D62EEF-71F8-4F55-8521-893C5C7B6645}"/>
              </a:ext>
            </a:extLst>
          </p:cNvPr>
          <p:cNvCxnSpPr>
            <a:cxnSpLocks/>
          </p:cNvCxnSpPr>
          <p:nvPr/>
        </p:nvCxnSpPr>
        <p:spPr>
          <a:xfrm>
            <a:off x="502897" y="667569"/>
            <a:ext cx="8133793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5">
            <a:extLst>
              <a:ext uri="{FF2B5EF4-FFF2-40B4-BE49-F238E27FC236}">
                <a16:creationId xmlns=""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7774" y="262686"/>
            <a:ext cx="8131168" cy="31647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04"/>
              </a:spcAft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116">
            <a:extLst>
              <a:ext uri="{FF2B5EF4-FFF2-40B4-BE49-F238E27FC236}">
                <a16:creationId xmlns="" xmlns:a16="http://schemas.microsoft.com/office/drawing/2014/main" id="{9D1D5787-3E91-4FEA-AB0C-57078295F086}"/>
              </a:ext>
            </a:extLst>
          </p:cNvPr>
          <p:cNvSpPr/>
          <p:nvPr/>
        </p:nvSpPr>
        <p:spPr>
          <a:xfrm>
            <a:off x="8908951" y="4933299"/>
            <a:ext cx="127151" cy="12695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7819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09CE21-7FC1-49DC-910A-F2C968E54205}" type="slidenum">
              <a:rPr kumimoji="0" lang="en-US" sz="825" b="0" i="0" u="none" strike="noStrike" kern="1200" cap="none" spc="-7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781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25" b="0" i="0" u="none" strike="noStrike" kern="1200" cap="none" spc="-7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43815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381">
          <p15:clr>
            <a:srgbClr val="FBAE40"/>
          </p15:clr>
        </p15:guide>
        <p15:guide id="2" pos="636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6"/>
          <a:ext cx="1620" cy="1215"/>
        </p:xfrm>
        <a:graphic>
          <a:graphicData uri="http://schemas.openxmlformats.org/presentationml/2006/ole">
            <p:oleObj spid="_x0000_s1186" name="think-cell Slide" r:id="rId5" imgW="0" imgH="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6" y="142509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60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400432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 smtClean="0"/>
              <a:pPr>
                <a:defRPr/>
              </a:pPr>
              <a:t>29.05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66020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9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5.png"/><Relationship Id="rId2" Type="http://schemas.openxmlformats.org/officeDocument/2006/relationships/tags" Target="../tags/tag4.xml"/><Relationship Id="rId16" Type="http://schemas.openxmlformats.org/officeDocument/2006/relationships/image" Target="../media/image12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4.png"/><Relationship Id="rId5" Type="http://schemas.openxmlformats.org/officeDocument/2006/relationships/tags" Target="../tags/tag7.xml"/><Relationship Id="rId15" Type="http://schemas.openxmlformats.org/officeDocument/2006/relationships/image" Target="../media/image11.png"/><Relationship Id="rId10" Type="http://schemas.openxmlformats.org/officeDocument/2006/relationships/notesSlide" Target="../notesSlides/notesSlide3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5.xml"/><Relationship Id="rId1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microsoft.com/office/2007/relationships/hdphoto" Target="../media/hdphoto1.wdp"/><Relationship Id="rId3" Type="http://schemas.openxmlformats.org/officeDocument/2006/relationships/tags" Target="../tags/tag12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png"/><Relationship Id="rId1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4.xml"/><Relationship Id="rId7" Type="http://schemas.openxmlformats.org/officeDocument/2006/relationships/image" Target="../media/image2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3">
            <a:extLst>
              <a:ext uri="{FF2B5EF4-FFF2-40B4-BE49-F238E27FC236}">
                <a16:creationId xmlns="" xmlns:a16="http://schemas.microsoft.com/office/drawing/2014/main" id="{A9CFDC53-0459-B946-D831-52A87E52B0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80634" y="4597402"/>
            <a:ext cx="3071813" cy="253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6" tIns="34289" rIns="68576" bIns="34289">
            <a:spAutoFit/>
          </a:bodyPr>
          <a:lstStyle/>
          <a:p>
            <a:pPr algn="ctr" defTabSz="685749"/>
            <a:r>
              <a:rPr lang="ru-RU" altLang="ru-RU" sz="1200" b="1" dirty="0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Астана, 202</a:t>
            </a:r>
            <a:r>
              <a:rPr lang="en-US" altLang="ru-RU" sz="1200" b="1" dirty="0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altLang="ru-RU" sz="1200" b="1" dirty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b="1" dirty="0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</a:t>
            </a:r>
            <a:endParaRPr lang="ru-RU" altLang="ru-RU" sz="1200" b="1" dirty="0">
              <a:solidFill>
                <a:srgbClr val="163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21">
            <a:extLst>
              <a:ext uri="{FF2B5EF4-FFF2-40B4-BE49-F238E27FC236}">
                <a16:creationId xmlns="" xmlns:a16="http://schemas.microsoft.com/office/drawing/2014/main" id="{311BF660-F614-E650-81D0-A40E9953875B}"/>
              </a:ext>
            </a:extLst>
          </p:cNvPr>
          <p:cNvGrpSpPr>
            <a:grpSpLocks/>
          </p:cNvGrpSpPr>
          <p:nvPr/>
        </p:nvGrpSpPr>
        <p:grpSpPr bwMode="auto">
          <a:xfrm>
            <a:off x="463550" y="2947992"/>
            <a:ext cx="971550" cy="1851025"/>
            <a:chOff x="464265" y="2731224"/>
            <a:chExt cx="970344" cy="1850030"/>
          </a:xfrm>
        </p:grpSpPr>
        <p:sp>
          <p:nvSpPr>
            <p:cNvPr id="25" name="Graphic 1">
              <a:extLst>
                <a:ext uri="{FF2B5EF4-FFF2-40B4-BE49-F238E27FC236}">
                  <a16:creationId xmlns="" xmlns:a16="http://schemas.microsoft.com/office/drawing/2014/main" id="{75A14B0E-525C-B399-38C5-88D342BC23F7}"/>
                </a:ext>
              </a:extLst>
            </p:cNvPr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6" name="Graphic 1">
              <a:extLst>
                <a:ext uri="{FF2B5EF4-FFF2-40B4-BE49-F238E27FC236}">
                  <a16:creationId xmlns="" xmlns:a16="http://schemas.microsoft.com/office/drawing/2014/main" id="{621A11AF-771F-5FDF-EF22-54551137F4FC}"/>
                </a:ext>
              </a:extLst>
            </p:cNvPr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7" name="Graphic 1">
              <a:extLst>
                <a:ext uri="{FF2B5EF4-FFF2-40B4-BE49-F238E27FC236}">
                  <a16:creationId xmlns="" xmlns:a16="http://schemas.microsoft.com/office/drawing/2014/main" id="{EFFA5D25-9475-BD28-A77D-0F92EEC6CD37}"/>
                </a:ext>
              </a:extLst>
            </p:cNvPr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8" name="Graphic 1">
              <a:extLst>
                <a:ext uri="{FF2B5EF4-FFF2-40B4-BE49-F238E27FC236}">
                  <a16:creationId xmlns="" xmlns:a16="http://schemas.microsoft.com/office/drawing/2014/main" id="{7BE9CF39-7468-996C-EB07-8AE5486854CB}"/>
                </a:ext>
              </a:extLst>
            </p:cNvPr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9" name="Graphic 1">
              <a:extLst>
                <a:ext uri="{FF2B5EF4-FFF2-40B4-BE49-F238E27FC236}">
                  <a16:creationId xmlns="" xmlns:a16="http://schemas.microsoft.com/office/drawing/2014/main" id="{B96E9577-0813-66D3-CF45-CD12AD6FFCC5}"/>
                </a:ext>
              </a:extLst>
            </p:cNvPr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0" name="Graphic 1">
              <a:extLst>
                <a:ext uri="{FF2B5EF4-FFF2-40B4-BE49-F238E27FC236}">
                  <a16:creationId xmlns="" xmlns:a16="http://schemas.microsoft.com/office/drawing/2014/main" id="{BDB54AA9-58B4-2B86-59F5-BB7B6094591F}"/>
                </a:ext>
              </a:extLst>
            </p:cNvPr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1" name="Graphic 1">
              <a:extLst>
                <a:ext uri="{FF2B5EF4-FFF2-40B4-BE49-F238E27FC236}">
                  <a16:creationId xmlns="" xmlns:a16="http://schemas.microsoft.com/office/drawing/2014/main" id="{8BB3E8D7-198D-5326-387C-7232CB482BA3}"/>
                </a:ext>
              </a:extLst>
            </p:cNvPr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Graphic 1">
              <a:extLst>
                <a:ext uri="{FF2B5EF4-FFF2-40B4-BE49-F238E27FC236}">
                  <a16:creationId xmlns="" xmlns:a16="http://schemas.microsoft.com/office/drawing/2014/main" id="{1FBBA64B-150E-8898-E2A8-9C66FEDCEB2B}"/>
                </a:ext>
              </a:extLst>
            </p:cNvPr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pic>
        <p:nvPicPr>
          <p:cNvPr id="33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="" xmlns:a16="http://schemas.microsoft.com/office/drawing/2014/main" id="{B79C56A5-61B5-FD5E-2E8E-6EF6C6120FBA}"/>
              </a:ext>
            </a:extLst>
          </p:cNvPr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7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9">
            <a:extLst>
              <a:ext uri="{FF2B5EF4-FFF2-40B4-BE49-F238E27FC236}">
                <a16:creationId xmlns="" xmlns:a16="http://schemas.microsoft.com/office/drawing/2014/main" id="{DC6861D2-0B41-C82F-4214-5BE9A1A6DE1D}"/>
              </a:ext>
            </a:extLst>
          </p:cNvPr>
          <p:cNvGrpSpPr>
            <a:grpSpLocks/>
          </p:cNvGrpSpPr>
          <p:nvPr/>
        </p:nvGrpSpPr>
        <p:grpSpPr bwMode="auto">
          <a:xfrm>
            <a:off x="463550" y="315914"/>
            <a:ext cx="971550" cy="1392237"/>
            <a:chOff x="464265" y="499361"/>
            <a:chExt cx="970344" cy="1391523"/>
          </a:xfrm>
        </p:grpSpPr>
        <p:sp>
          <p:nvSpPr>
            <p:cNvPr id="35" name="Graphic 1">
              <a:extLst>
                <a:ext uri="{FF2B5EF4-FFF2-40B4-BE49-F238E27FC236}">
                  <a16:creationId xmlns="" xmlns:a16="http://schemas.microsoft.com/office/drawing/2014/main" id="{9AD3A80E-9243-18F2-EE28-F7F134A102B2}"/>
                </a:ext>
              </a:extLst>
            </p:cNvPr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6" name="Graphic 1">
              <a:extLst>
                <a:ext uri="{FF2B5EF4-FFF2-40B4-BE49-F238E27FC236}">
                  <a16:creationId xmlns="" xmlns:a16="http://schemas.microsoft.com/office/drawing/2014/main" id="{EF548313-BB82-3A25-BE50-0135CD1ADD9A}"/>
                </a:ext>
              </a:extLst>
            </p:cNvPr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7" name="Graphic 1">
              <a:extLst>
                <a:ext uri="{FF2B5EF4-FFF2-40B4-BE49-F238E27FC236}">
                  <a16:creationId xmlns="" xmlns:a16="http://schemas.microsoft.com/office/drawing/2014/main" id="{EE22C6FF-D6FC-4971-9EFE-757215056B2B}"/>
                </a:ext>
              </a:extLst>
            </p:cNvPr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8" name="Graphic 1">
              <a:extLst>
                <a:ext uri="{FF2B5EF4-FFF2-40B4-BE49-F238E27FC236}">
                  <a16:creationId xmlns="" xmlns:a16="http://schemas.microsoft.com/office/drawing/2014/main" id="{793315F8-98CB-67C7-6DD5-A1CAC9ADAAEC}"/>
                </a:ext>
              </a:extLst>
            </p:cNvPr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="" xmlns:a16="http://schemas.microsoft.com/office/drawing/2014/main" id="{D5E89F53-830F-411D-BB3F-57E16A7BDC50}"/>
                </a:ext>
              </a:extLst>
            </p:cNvPr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="" xmlns:a16="http://schemas.microsoft.com/office/drawing/2014/main" id="{F0CD6754-F4F3-2999-563C-4C62696F4E89}"/>
                </a:ext>
              </a:extLst>
            </p:cNvPr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1" name="Подзаголовок 4">
            <a:extLst>
              <a:ext uri="{FF2B5EF4-FFF2-40B4-BE49-F238E27FC236}">
                <a16:creationId xmlns="" xmlns:a16="http://schemas.microsoft.com/office/drawing/2014/main" id="{3D9B65B1-E77D-8F65-3DD4-ED1B2C5D4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20875" y="1697677"/>
            <a:ext cx="6400800" cy="1314450"/>
          </a:xfrm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  <a:spcBef>
                <a:spcPts val="450"/>
              </a:spcBef>
            </a:pPr>
            <a:r>
              <a:rPr lang="ru-RU" sz="2400" b="1" dirty="0" smtClean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приграничных территорий</a:t>
            </a:r>
            <a:endParaRPr lang="ru-RU" sz="2400" b="1" dirty="0">
              <a:solidFill>
                <a:srgbClr val="163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4272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object 2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948860" y="942391"/>
            <a:ext cx="550953" cy="523179"/>
          </a:xfrm>
          <a:prstGeom prst="rect">
            <a:avLst/>
          </a:prstGeom>
        </p:spPr>
      </p:pic>
      <p:grpSp>
        <p:nvGrpSpPr>
          <p:cNvPr id="7" name="object 38"/>
          <p:cNvGrpSpPr/>
          <p:nvPr/>
        </p:nvGrpSpPr>
        <p:grpSpPr>
          <a:xfrm>
            <a:off x="372097" y="1766860"/>
            <a:ext cx="615481" cy="597252"/>
            <a:chOff x="184048" y="614044"/>
            <a:chExt cx="497205" cy="467359"/>
          </a:xfrm>
        </p:grpSpPr>
        <p:sp>
          <p:nvSpPr>
            <p:cNvPr id="25" name="object 39"/>
            <p:cNvSpPr/>
            <p:nvPr/>
          </p:nvSpPr>
          <p:spPr>
            <a:xfrm>
              <a:off x="190144" y="699261"/>
              <a:ext cx="484505" cy="375920"/>
            </a:xfrm>
            <a:custGeom>
              <a:avLst/>
              <a:gdLst/>
              <a:ahLst/>
              <a:cxnLst/>
              <a:rect l="l" t="t" r="r" b="b"/>
              <a:pathLst>
                <a:path w="484505" h="375919">
                  <a:moveTo>
                    <a:pt x="80708" y="16637"/>
                  </a:moveTo>
                  <a:lnTo>
                    <a:pt x="183489" y="375920"/>
                  </a:lnTo>
                </a:path>
                <a:path w="484505" h="375919">
                  <a:moveTo>
                    <a:pt x="0" y="220472"/>
                  </a:moveTo>
                  <a:lnTo>
                    <a:pt x="127850" y="182879"/>
                  </a:lnTo>
                </a:path>
                <a:path w="484505" h="375919">
                  <a:moveTo>
                    <a:pt x="275615" y="100457"/>
                  </a:moveTo>
                  <a:lnTo>
                    <a:pt x="170802" y="131317"/>
                  </a:lnTo>
                  <a:lnTo>
                    <a:pt x="237210" y="360045"/>
                  </a:lnTo>
                </a:path>
                <a:path w="484505" h="375919">
                  <a:moveTo>
                    <a:pt x="134150" y="0"/>
                  </a:moveTo>
                  <a:lnTo>
                    <a:pt x="155638" y="77342"/>
                  </a:lnTo>
                  <a:lnTo>
                    <a:pt x="249554" y="48640"/>
                  </a:lnTo>
                </a:path>
                <a:path w="484505" h="375919">
                  <a:moveTo>
                    <a:pt x="207264" y="257937"/>
                  </a:moveTo>
                  <a:lnTo>
                    <a:pt x="484403" y="178308"/>
                  </a:lnTo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object 40"/>
            <p:cNvSpPr/>
            <p:nvPr/>
          </p:nvSpPr>
          <p:spPr>
            <a:xfrm>
              <a:off x="449427" y="620140"/>
              <a:ext cx="160655" cy="259079"/>
            </a:xfrm>
            <a:custGeom>
              <a:avLst/>
              <a:gdLst/>
              <a:ahLst/>
              <a:cxnLst/>
              <a:rect l="l" t="t" r="r" b="b"/>
              <a:pathLst>
                <a:path w="160654" h="259080">
                  <a:moveTo>
                    <a:pt x="160566" y="80010"/>
                  </a:moveTo>
                  <a:lnTo>
                    <a:pt x="148022" y="126595"/>
                  </a:lnTo>
                  <a:lnTo>
                    <a:pt x="120427" y="185991"/>
                  </a:lnTo>
                  <a:lnTo>
                    <a:pt x="92832" y="237101"/>
                  </a:lnTo>
                  <a:lnTo>
                    <a:pt x="80289" y="258825"/>
                  </a:lnTo>
                  <a:lnTo>
                    <a:pt x="67744" y="237101"/>
                  </a:lnTo>
                  <a:lnTo>
                    <a:pt x="40144" y="185991"/>
                  </a:lnTo>
                  <a:lnTo>
                    <a:pt x="12545" y="126595"/>
                  </a:lnTo>
                  <a:lnTo>
                    <a:pt x="0" y="80010"/>
                  </a:lnTo>
                  <a:lnTo>
                    <a:pt x="6312" y="48863"/>
                  </a:lnTo>
                  <a:lnTo>
                    <a:pt x="23523" y="23431"/>
                  </a:lnTo>
                  <a:lnTo>
                    <a:pt x="49045" y="6286"/>
                  </a:lnTo>
                  <a:lnTo>
                    <a:pt x="80289" y="0"/>
                  </a:lnTo>
                  <a:lnTo>
                    <a:pt x="111526" y="6286"/>
                  </a:lnTo>
                  <a:lnTo>
                    <a:pt x="137044" y="23431"/>
                  </a:lnTo>
                  <a:lnTo>
                    <a:pt x="154254" y="48863"/>
                  </a:lnTo>
                  <a:lnTo>
                    <a:pt x="160566" y="80010"/>
                  </a:lnTo>
                  <a:close/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27" name="object 4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90372" y="659764"/>
              <a:ext cx="79120" cy="80264"/>
            </a:xfrm>
            <a:prstGeom prst="rect">
              <a:avLst/>
            </a:prstGeom>
          </p:spPr>
        </p:pic>
        <p:sp>
          <p:nvSpPr>
            <p:cNvPr id="28" name="object 42"/>
            <p:cNvSpPr/>
            <p:nvPr/>
          </p:nvSpPr>
          <p:spPr>
            <a:xfrm>
              <a:off x="601497" y="898651"/>
              <a:ext cx="20955" cy="71120"/>
            </a:xfrm>
            <a:custGeom>
              <a:avLst/>
              <a:gdLst/>
              <a:ahLst/>
              <a:cxnLst/>
              <a:rect l="l" t="t" r="r" b="b"/>
              <a:pathLst>
                <a:path w="20954" h="71119">
                  <a:moveTo>
                    <a:pt x="0" y="0"/>
                  </a:moveTo>
                  <a:lnTo>
                    <a:pt x="20472" y="70865"/>
                  </a:lnTo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0" name="object 44"/>
          <p:cNvSpPr/>
          <p:nvPr/>
        </p:nvSpPr>
        <p:spPr>
          <a:xfrm>
            <a:off x="379643" y="2855237"/>
            <a:ext cx="599760" cy="501166"/>
          </a:xfrm>
          <a:custGeom>
            <a:avLst/>
            <a:gdLst/>
            <a:ahLst/>
            <a:cxnLst/>
            <a:rect l="l" t="t" r="r" b="b"/>
            <a:pathLst>
              <a:path w="471170" h="405764">
                <a:moveTo>
                  <a:pt x="470916" y="275844"/>
                </a:moveTo>
                <a:lnTo>
                  <a:pt x="0" y="275844"/>
                </a:lnTo>
              </a:path>
              <a:path w="471170" h="405764">
                <a:moveTo>
                  <a:pt x="205740" y="275844"/>
                </a:moveTo>
                <a:lnTo>
                  <a:pt x="205740" y="158369"/>
                </a:lnTo>
                <a:lnTo>
                  <a:pt x="265176" y="89915"/>
                </a:lnTo>
              </a:path>
              <a:path w="471170" h="405764">
                <a:moveTo>
                  <a:pt x="28955" y="275844"/>
                </a:moveTo>
                <a:lnTo>
                  <a:pt x="28955" y="158369"/>
                </a:lnTo>
                <a:lnTo>
                  <a:pt x="88798" y="89915"/>
                </a:lnTo>
                <a:lnTo>
                  <a:pt x="265658" y="89915"/>
                </a:lnTo>
                <a:lnTo>
                  <a:pt x="324612" y="158369"/>
                </a:lnTo>
                <a:lnTo>
                  <a:pt x="324612" y="275844"/>
                </a:lnTo>
              </a:path>
              <a:path w="471170" h="405764">
                <a:moveTo>
                  <a:pt x="28955" y="158495"/>
                </a:moveTo>
                <a:lnTo>
                  <a:pt x="205740" y="158495"/>
                </a:lnTo>
              </a:path>
              <a:path w="471170" h="405764">
                <a:moveTo>
                  <a:pt x="156972" y="198119"/>
                </a:moveTo>
                <a:lnTo>
                  <a:pt x="156972" y="237744"/>
                </a:lnTo>
              </a:path>
              <a:path w="471170" h="405764">
                <a:moveTo>
                  <a:pt x="265176" y="149351"/>
                </a:moveTo>
                <a:lnTo>
                  <a:pt x="265176" y="178307"/>
                </a:lnTo>
              </a:path>
              <a:path w="471170" h="405764">
                <a:moveTo>
                  <a:pt x="284988" y="275844"/>
                </a:moveTo>
                <a:lnTo>
                  <a:pt x="284988" y="207263"/>
                </a:lnTo>
                <a:lnTo>
                  <a:pt x="245363" y="207263"/>
                </a:lnTo>
                <a:lnTo>
                  <a:pt x="245363" y="275844"/>
                </a:lnTo>
              </a:path>
              <a:path w="471170" h="405764">
                <a:moveTo>
                  <a:pt x="79247" y="198119"/>
                </a:moveTo>
                <a:lnTo>
                  <a:pt x="79247" y="237744"/>
                </a:lnTo>
              </a:path>
              <a:path w="471170" h="405764">
                <a:moveTo>
                  <a:pt x="118872" y="198119"/>
                </a:moveTo>
                <a:lnTo>
                  <a:pt x="118872" y="237744"/>
                </a:lnTo>
              </a:path>
              <a:path w="471170" h="405764">
                <a:moveTo>
                  <a:pt x="393191" y="405383"/>
                </a:moveTo>
                <a:lnTo>
                  <a:pt x="383230" y="354657"/>
                </a:lnTo>
                <a:lnTo>
                  <a:pt x="355958" y="313515"/>
                </a:lnTo>
                <a:lnTo>
                  <a:pt x="315300" y="285922"/>
                </a:lnTo>
                <a:lnTo>
                  <a:pt x="265176" y="275844"/>
                </a:lnTo>
              </a:path>
              <a:path w="471170" h="405764">
                <a:moveTo>
                  <a:pt x="324612" y="405383"/>
                </a:moveTo>
                <a:lnTo>
                  <a:pt x="314650" y="354657"/>
                </a:lnTo>
                <a:lnTo>
                  <a:pt x="287378" y="313515"/>
                </a:lnTo>
                <a:lnTo>
                  <a:pt x="246720" y="285922"/>
                </a:lnTo>
                <a:lnTo>
                  <a:pt x="196596" y="275844"/>
                </a:lnTo>
              </a:path>
              <a:path w="471170" h="405764">
                <a:moveTo>
                  <a:pt x="256032" y="405383"/>
                </a:moveTo>
                <a:lnTo>
                  <a:pt x="246070" y="354657"/>
                </a:lnTo>
                <a:lnTo>
                  <a:pt x="218798" y="313515"/>
                </a:lnTo>
                <a:lnTo>
                  <a:pt x="178140" y="285922"/>
                </a:lnTo>
                <a:lnTo>
                  <a:pt x="128015" y="275844"/>
                </a:lnTo>
              </a:path>
              <a:path w="471170" h="405764">
                <a:moveTo>
                  <a:pt x="187451" y="405383"/>
                </a:moveTo>
                <a:lnTo>
                  <a:pt x="177490" y="354657"/>
                </a:lnTo>
                <a:lnTo>
                  <a:pt x="150218" y="313515"/>
                </a:lnTo>
                <a:lnTo>
                  <a:pt x="109560" y="285922"/>
                </a:lnTo>
                <a:lnTo>
                  <a:pt x="59436" y="275844"/>
                </a:lnTo>
              </a:path>
              <a:path w="471170" h="405764">
                <a:moveTo>
                  <a:pt x="0" y="275844"/>
                </a:moveTo>
                <a:lnTo>
                  <a:pt x="46782" y="288708"/>
                </a:lnTo>
                <a:lnTo>
                  <a:pt x="84510" y="317230"/>
                </a:lnTo>
                <a:lnTo>
                  <a:pt x="109701" y="357443"/>
                </a:lnTo>
                <a:lnTo>
                  <a:pt x="118872" y="405383"/>
                </a:lnTo>
              </a:path>
              <a:path w="471170" h="405764">
                <a:moveTo>
                  <a:pt x="0" y="304800"/>
                </a:moveTo>
                <a:lnTo>
                  <a:pt x="20588" y="324998"/>
                </a:lnTo>
                <a:lnTo>
                  <a:pt x="36461" y="348662"/>
                </a:lnTo>
                <a:lnTo>
                  <a:pt x="46677" y="375540"/>
                </a:lnTo>
                <a:lnTo>
                  <a:pt x="50292" y="405383"/>
                </a:lnTo>
              </a:path>
              <a:path w="471170" h="405764">
                <a:moveTo>
                  <a:pt x="413003" y="275844"/>
                </a:moveTo>
                <a:lnTo>
                  <a:pt x="413003" y="89915"/>
                </a:lnTo>
              </a:path>
              <a:path w="471170" h="405764">
                <a:moveTo>
                  <a:pt x="362712" y="49402"/>
                </a:moveTo>
                <a:lnTo>
                  <a:pt x="366620" y="30218"/>
                </a:lnTo>
                <a:lnTo>
                  <a:pt x="377261" y="14509"/>
                </a:lnTo>
                <a:lnTo>
                  <a:pt x="393010" y="3897"/>
                </a:lnTo>
                <a:lnTo>
                  <a:pt x="412241" y="0"/>
                </a:lnTo>
                <a:lnTo>
                  <a:pt x="431473" y="3897"/>
                </a:lnTo>
                <a:lnTo>
                  <a:pt x="447222" y="14509"/>
                </a:lnTo>
                <a:lnTo>
                  <a:pt x="457863" y="30218"/>
                </a:lnTo>
                <a:lnTo>
                  <a:pt x="461772" y="49402"/>
                </a:lnTo>
                <a:lnTo>
                  <a:pt x="461772" y="112105"/>
                </a:lnTo>
                <a:lnTo>
                  <a:pt x="461772" y="144303"/>
                </a:lnTo>
                <a:lnTo>
                  <a:pt x="461772" y="156166"/>
                </a:lnTo>
                <a:lnTo>
                  <a:pt x="461772" y="157860"/>
                </a:lnTo>
                <a:lnTo>
                  <a:pt x="457863" y="177045"/>
                </a:lnTo>
                <a:lnTo>
                  <a:pt x="447222" y="192754"/>
                </a:lnTo>
                <a:lnTo>
                  <a:pt x="431473" y="203366"/>
                </a:lnTo>
                <a:lnTo>
                  <a:pt x="412241" y="207263"/>
                </a:lnTo>
                <a:lnTo>
                  <a:pt x="393010" y="203366"/>
                </a:lnTo>
                <a:lnTo>
                  <a:pt x="377261" y="192754"/>
                </a:lnTo>
                <a:lnTo>
                  <a:pt x="366620" y="177045"/>
                </a:lnTo>
                <a:lnTo>
                  <a:pt x="362712" y="157860"/>
                </a:lnTo>
                <a:lnTo>
                  <a:pt x="362712" y="49402"/>
                </a:lnTo>
                <a:close/>
              </a:path>
              <a:path w="471170" h="405764">
                <a:moveTo>
                  <a:pt x="353568" y="316991"/>
                </a:moveTo>
                <a:lnTo>
                  <a:pt x="470916" y="316991"/>
                </a:lnTo>
              </a:path>
              <a:path w="471170" h="405764">
                <a:moveTo>
                  <a:pt x="382524" y="355091"/>
                </a:moveTo>
                <a:lnTo>
                  <a:pt x="470916" y="355091"/>
                </a:lnTo>
              </a:path>
              <a:path w="471170" h="405764">
                <a:moveTo>
                  <a:pt x="393191" y="394715"/>
                </a:moveTo>
                <a:lnTo>
                  <a:pt x="470916" y="394715"/>
                </a:lnTo>
              </a:path>
            </a:pathLst>
          </a:custGeom>
          <a:ln w="12192">
            <a:solidFill>
              <a:srgbClr val="006FCE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36" name="object 43"/>
          <p:cNvSpPr txBox="1">
            <a:spLocks/>
          </p:cNvSpPr>
          <p:nvPr/>
        </p:nvSpPr>
        <p:spPr>
          <a:xfrm>
            <a:off x="610724" y="863360"/>
            <a:ext cx="4481285" cy="505902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Segoe UI Light"/>
                <a:ea typeface="+mj-ea"/>
                <a:cs typeface="Segoe UI Light"/>
              </a:defRPr>
            </a:lvl1pPr>
          </a:lstStyle>
          <a:p>
            <a:pPr marL="12694" algn="ctr" defTabSz="913936" eaLnBrk="0" fontAlgn="base" hangingPunct="0">
              <a:spcBef>
                <a:spcPts val="105"/>
              </a:spcBef>
              <a:spcAft>
                <a:spcPct val="0"/>
              </a:spcAft>
              <a:defRPr/>
            </a:pPr>
            <a:r>
              <a:rPr lang="ru-RU" sz="3200" b="1" spc="-100" dirty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14</a:t>
            </a:r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приграничных областей</a:t>
            </a:r>
            <a:endParaRPr lang="kk-KZ" sz="3200" b="1" spc="-100" dirty="0">
              <a:solidFill>
                <a:srgbClr val="00B05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cxnSp>
        <p:nvCxnSpPr>
          <p:cNvPr id="37" name="Straight Connector 32"/>
          <p:cNvCxnSpPr/>
          <p:nvPr/>
        </p:nvCxnSpPr>
        <p:spPr>
          <a:xfrm>
            <a:off x="0" y="442524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="" xmlns:a16="http://schemas.microsoft.com/office/drawing/2014/main" id="{653D544F-5913-4618-A7BD-9B51A7D466F5}"/>
              </a:ext>
            </a:extLst>
          </p:cNvPr>
          <p:cNvCxnSpPr>
            <a:cxnSpLocks/>
          </p:cNvCxnSpPr>
          <p:nvPr/>
        </p:nvCxnSpPr>
        <p:spPr>
          <a:xfrm>
            <a:off x="1608817" y="2598352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Заголовок 1"/>
          <p:cNvSpPr txBox="1">
            <a:spLocks/>
          </p:cNvSpPr>
          <p:nvPr/>
        </p:nvSpPr>
        <p:spPr>
          <a:xfrm>
            <a:off x="0" y="51414"/>
            <a:ext cx="9144000" cy="456388"/>
          </a:xfrm>
          <a:prstGeom prst="rect">
            <a:avLst/>
          </a:prstGeom>
        </p:spPr>
        <p:txBody>
          <a:bodyPr vert="horz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екущая ситуация приграничных территорий</a:t>
            </a:r>
            <a:endParaRPr lang="kk-KZ" sz="2000" b="1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8893900" y="4886738"/>
            <a:ext cx="26000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1050" dirty="0" smtClean="0"/>
              <a:t>2</a:t>
            </a:r>
            <a:endParaRPr lang="ru-RU" sz="1050" dirty="0"/>
          </a:p>
        </p:txBody>
      </p:sp>
      <p:sp>
        <p:nvSpPr>
          <p:cNvPr id="32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>
            <a:off x="4308983" y="-3713859"/>
            <a:ext cx="45719" cy="8568954"/>
          </a:xfrm>
          <a:prstGeom prst="rect">
            <a:avLst/>
          </a:prstGeom>
          <a:gradFill flip="none" rotWithShape="1"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74000">
                <a:schemeClr val="accent5">
                  <a:lumMod val="75000"/>
                </a:schemeClr>
              </a:gs>
              <a:gs pos="83000">
                <a:schemeClr val="accent5">
                  <a:lumMod val="75000"/>
                </a:schemeClr>
              </a:gs>
              <a:gs pos="100000">
                <a:srgbClr val="002C7A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3" name="Rectangle 38">
            <a:extLst>
              <a:ext uri="{FF2B5EF4-FFF2-40B4-BE49-F238E27FC236}">
                <a16:creationId xmlns="" xmlns:a16="http://schemas.microsoft.com/office/drawing/2014/main" id="{B8EA2447-65CD-4FBE-8BB1-2B652012D92C}"/>
              </a:ext>
            </a:extLst>
          </p:cNvPr>
          <p:cNvSpPr/>
          <p:nvPr/>
        </p:nvSpPr>
        <p:spPr>
          <a:xfrm>
            <a:off x="47366" y="593478"/>
            <a:ext cx="60584" cy="3296044"/>
          </a:xfrm>
          <a:prstGeom prst="rect">
            <a:avLst/>
          </a:prstGeom>
          <a:gradFill flip="none" rotWithShape="1"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74000">
                <a:schemeClr val="accent5">
                  <a:lumMod val="75000"/>
                </a:schemeClr>
              </a:gs>
              <a:gs pos="83000">
                <a:schemeClr val="accent5">
                  <a:lumMod val="75000"/>
                </a:schemeClr>
              </a:gs>
              <a:gs pos="100000">
                <a:srgbClr val="002C7A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5" name="object 43"/>
          <p:cNvSpPr txBox="1">
            <a:spLocks/>
          </p:cNvSpPr>
          <p:nvPr/>
        </p:nvSpPr>
        <p:spPr>
          <a:xfrm>
            <a:off x="646412" y="1730856"/>
            <a:ext cx="4481285" cy="505902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Segoe UI Light"/>
                <a:ea typeface="+mj-ea"/>
                <a:cs typeface="Segoe UI Light"/>
              </a:defRPr>
            </a:lvl1pPr>
          </a:lstStyle>
          <a:p>
            <a:pPr marL="12694" algn="ctr" defTabSz="913936" eaLnBrk="0" fontAlgn="base" hangingPunct="0">
              <a:spcBef>
                <a:spcPts val="105"/>
              </a:spcBef>
              <a:spcAft>
                <a:spcPct val="0"/>
              </a:spcAft>
              <a:defRPr/>
            </a:pPr>
            <a:r>
              <a:rPr lang="ru-RU" sz="3200" b="1" spc="-100" dirty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65</a:t>
            </a:r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приграничных районов</a:t>
            </a:r>
            <a:endParaRPr lang="kk-KZ" sz="3200" b="1" spc="-100" dirty="0">
              <a:solidFill>
                <a:srgbClr val="00B050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39" name="object 43"/>
          <p:cNvSpPr txBox="1">
            <a:spLocks/>
          </p:cNvSpPr>
          <p:nvPr/>
        </p:nvSpPr>
        <p:spPr>
          <a:xfrm>
            <a:off x="1178095" y="2786289"/>
            <a:ext cx="3153747" cy="813678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Segoe UI Light"/>
                <a:ea typeface="+mj-ea"/>
                <a:cs typeface="Segoe UI Light"/>
              </a:defRPr>
            </a:lvl1pPr>
          </a:lstStyle>
          <a:p>
            <a:pPr algn="ctr" fontAlgn="base">
              <a:spcBef>
                <a:spcPts val="105"/>
              </a:spcBef>
              <a:spcAft>
                <a:spcPct val="0"/>
              </a:spcAft>
              <a:defRPr/>
            </a:pPr>
            <a:r>
              <a:rPr lang="ru-RU" sz="3200" b="1" spc="-100" dirty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1 283 </a:t>
            </a:r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приграничных СНП</a:t>
            </a:r>
          </a:p>
        </p:txBody>
      </p:sp>
      <p:cxnSp>
        <p:nvCxnSpPr>
          <p:cNvPr id="43" name="Straight Connector 43">
            <a:extLst>
              <a:ext uri="{FF2B5EF4-FFF2-40B4-BE49-F238E27FC236}">
                <a16:creationId xmlns="" xmlns:a16="http://schemas.microsoft.com/office/drawing/2014/main" id="{653D544F-5913-4618-A7BD-9B51A7D466F5}"/>
              </a:ext>
            </a:extLst>
          </p:cNvPr>
          <p:cNvCxnSpPr>
            <a:cxnSpLocks/>
          </p:cNvCxnSpPr>
          <p:nvPr/>
        </p:nvCxnSpPr>
        <p:spPr>
          <a:xfrm>
            <a:off x="1608816" y="1558171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21">
            <a:extLst>
              <a:ext uri="{FF2B5EF4-FFF2-40B4-BE49-F238E27FC236}">
                <a16:creationId xmlns="" xmlns:a16="http://schemas.microsoft.com/office/drawing/2014/main" id="{85846C35-F07D-4CE7-B7D0-32A0054B916E}"/>
              </a:ext>
            </a:extLst>
          </p:cNvPr>
          <p:cNvSpPr/>
          <p:nvPr/>
        </p:nvSpPr>
        <p:spPr>
          <a:xfrm>
            <a:off x="5859439" y="851299"/>
            <a:ext cx="2881424" cy="539087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ctr">
            <a:noAutofit/>
          </a:bodyPr>
          <a:lstStyle/>
          <a:p>
            <a:pPr algn="ctr"/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население</a:t>
            </a:r>
            <a:r>
              <a:rPr lang="ru-RU" sz="3200" b="1" spc="-100" dirty="0" smtClean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1,9 </a:t>
            </a:r>
            <a:r>
              <a:rPr lang="ru-RU" sz="2000" b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млн. </a:t>
            </a:r>
            <a:r>
              <a:rPr lang="kk-KZ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человек</a:t>
            </a:r>
            <a:r>
              <a:rPr lang="ru-RU" sz="20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1" name="Прямоугольник 21">
            <a:extLst>
              <a:ext uri="{FF2B5EF4-FFF2-40B4-BE49-F238E27FC236}">
                <a16:creationId xmlns="" xmlns:a16="http://schemas.microsoft.com/office/drawing/2014/main" id="{85846C35-F07D-4CE7-B7D0-32A0054B916E}"/>
              </a:ext>
            </a:extLst>
          </p:cNvPr>
          <p:cNvSpPr/>
          <p:nvPr/>
        </p:nvSpPr>
        <p:spPr>
          <a:xfrm>
            <a:off x="5705908" y="2158176"/>
            <a:ext cx="3279810" cy="1614711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ctr">
            <a:noAutofit/>
          </a:bodyPr>
          <a:lstStyle/>
          <a:p>
            <a:pPr algn="ctr"/>
            <a:r>
              <a:rPr lang="kk-KZ" sz="18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Рядом с границей расположены </a:t>
            </a:r>
            <a:r>
              <a:rPr lang="kk-KZ" sz="2800" b="1" spc="-100" dirty="0" smtClean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9</a:t>
            </a:r>
            <a:r>
              <a:rPr lang="kk-KZ" sz="18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малых городов </a:t>
            </a:r>
          </a:p>
          <a:p>
            <a:pPr algn="ctr"/>
            <a:r>
              <a:rPr lang="kk-KZ" sz="1200" i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(</a:t>
            </a:r>
            <a:r>
              <a:rPr lang="kk-KZ" sz="1200" i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Жаркент, Зайсан, </a:t>
            </a:r>
            <a:r>
              <a:rPr lang="kk-KZ" sz="1200" i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Сарыагаш</a:t>
            </a:r>
            <a:r>
              <a:rPr lang="kk-KZ" sz="1200" i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, Шардара, Шемонаиха, Мамлютка, Булаев, </a:t>
            </a:r>
            <a:r>
              <a:rPr lang="kk-KZ" sz="1200" i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Жетисай</a:t>
            </a:r>
            <a:r>
              <a:rPr lang="kk-KZ" sz="1200" i="1" spc="-100" dirty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, </a:t>
            </a:r>
            <a:r>
              <a:rPr lang="kk-KZ" sz="1200" i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Житикара)</a:t>
            </a:r>
            <a:endParaRPr lang="ru-RU" sz="1200" i="1" spc="-100" dirty="0" smtClean="0">
              <a:solidFill>
                <a:srgbClr val="003BA3">
                  <a:lumMod val="50000"/>
                </a:srgbClr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7950" y="4115775"/>
            <a:ext cx="8742247" cy="8145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15000"/>
              </a:lnSpc>
              <a:spcAft>
                <a:spcPts val="0"/>
              </a:spcAft>
              <a:tabLst>
                <a:tab pos="1980565" algn="l"/>
              </a:tabLst>
            </a:pP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играничные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рритории –</a:t>
            </a:r>
            <a:r>
              <a:rPr lang="ru-RU" sz="1200" dirty="0">
                <a:latin typeface="Times New Roman" panose="02020603050405020304" pitchFamily="18" charset="0"/>
                <a:ea typeface="Arial" panose="020B0604020202020204" pitchFamily="34" charset="0"/>
              </a:rPr>
              <a:t> 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рритории административно-территориальных образований и населенных пунктов, расположенных на расстоянии до 50 км от государственной границы Республики Казахстан</a:t>
            </a:r>
          </a:p>
        </p:txBody>
      </p:sp>
      <p:sp>
        <p:nvSpPr>
          <p:cNvPr id="49" name="object 25"/>
          <p:cNvSpPr/>
          <p:nvPr/>
        </p:nvSpPr>
        <p:spPr>
          <a:xfrm>
            <a:off x="4723328" y="1152925"/>
            <a:ext cx="45719" cy="2322004"/>
          </a:xfrm>
          <a:custGeom>
            <a:avLst/>
            <a:gdLst/>
            <a:ahLst/>
            <a:cxnLst/>
            <a:rect l="l" t="t" r="r" b="b"/>
            <a:pathLst>
              <a:path h="1647825">
                <a:moveTo>
                  <a:pt x="0" y="0"/>
                </a:moveTo>
                <a:lnTo>
                  <a:pt x="0" y="1647443"/>
                </a:lnTo>
              </a:path>
            </a:pathLst>
          </a:custGeom>
          <a:ln w="6096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cxnSp>
        <p:nvCxnSpPr>
          <p:cNvPr id="52" name="Straight Connector 43">
            <a:extLst>
              <a:ext uri="{FF2B5EF4-FFF2-40B4-BE49-F238E27FC236}">
                <a16:creationId xmlns="" xmlns:a16="http://schemas.microsoft.com/office/drawing/2014/main" id="{653D544F-5913-4618-A7BD-9B51A7D466F5}"/>
              </a:ext>
            </a:extLst>
          </p:cNvPr>
          <p:cNvCxnSpPr>
            <a:cxnSpLocks/>
          </p:cNvCxnSpPr>
          <p:nvPr/>
        </p:nvCxnSpPr>
        <p:spPr>
          <a:xfrm flipV="1">
            <a:off x="5596128" y="1939829"/>
            <a:ext cx="2950790" cy="10974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Рисунок 110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9644" y="929842"/>
            <a:ext cx="599760" cy="503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Рисунок 1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48860" y="2258950"/>
            <a:ext cx="550952" cy="45759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9399937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1"/>
          </p:nvPr>
        </p:nvSpPr>
        <p:spPr>
          <a:xfrm>
            <a:off x="0" y="107064"/>
            <a:ext cx="9143999" cy="435812"/>
          </a:xfrm>
        </p:spPr>
        <p:txBody>
          <a:bodyPr>
            <a:normAutofit/>
          </a:bodyPr>
          <a:lstStyle/>
          <a:p>
            <a:pPr algn="ctr"/>
            <a:r>
              <a:rPr lang="ru-RU" sz="2000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Проблемные вопросы приграничных территори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46521" y="767962"/>
            <a:ext cx="8850955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граничные регионы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раны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стают от ряда приграничных областей других 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сударств </a:t>
            </a:r>
            <a:r>
              <a:rPr lang="ru-RU" sz="14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КНР, РФ)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 размеру среднедушевого дохода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селения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kk-KZ" sz="800" dirty="0" smtClean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граничных районах СКО, ВКО 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лотность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селения 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иже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реднего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ране</a:t>
            </a:r>
          </a:p>
          <a:p>
            <a:pPr algn="just"/>
            <a:endParaRPr lang="ru-RU" sz="800" dirty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сутствие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бочих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ст,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зкий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ход 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лабая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ранспортная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ступность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нос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циальной и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женерно-транспортной инфраструктуры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изкая</a:t>
            </a:r>
            <a:r>
              <a:rPr lang="kk-KZ" sz="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ля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частия местных предпринимателей в экономике приграничных территорий 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3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развитость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истских маршрутов и туристской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фраструктуры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endParaRPr lang="kk-KZ" sz="3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изкое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чество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товой связи, интернета и почтовых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слуг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3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фицит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валифицированных кадров,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изкий уровень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атериально-технической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зы социальных объектов и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чество оказываемых услуг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300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797159" y="4897279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1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3</a:t>
            </a:r>
            <a:endParaRPr lang="kk-KZ" sz="1000" dirty="0" smtClean="0">
              <a:solidFill>
                <a:srgbClr val="000000"/>
              </a:solidFill>
              <a:latin typeface="Calibri" panose="020F0502020204030204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773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1"/>
          </p:nvPr>
        </p:nvSpPr>
        <p:spPr>
          <a:xfrm>
            <a:off x="0" y="82456"/>
            <a:ext cx="9143999" cy="435812"/>
          </a:xfrm>
        </p:spPr>
        <p:txBody>
          <a:bodyPr>
            <a:noAutofit/>
          </a:bodyPr>
          <a:lstStyle/>
          <a:p>
            <a:pPr algn="ctr"/>
            <a:r>
              <a:rPr lang="ru-RU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Концепция развития сельских территорий на 2023-2027 годы</a:t>
            </a:r>
          </a:p>
        </p:txBody>
      </p:sp>
      <p:cxnSp>
        <p:nvCxnSpPr>
          <p:cNvPr id="48" name="Straight Connector 124">
            <a:extLst>
              <a:ext uri="{FF2B5EF4-FFF2-40B4-BE49-F238E27FC236}">
                <a16:creationId xmlns:a16="http://schemas.microsoft.com/office/drawing/2014/main" xmlns="" id="{4022312E-D9E3-42F6-8E2D-D89C8C33D6D4}"/>
              </a:ext>
            </a:extLst>
          </p:cNvPr>
          <p:cNvCxnSpPr>
            <a:cxnSpLocks/>
          </p:cNvCxnSpPr>
          <p:nvPr/>
        </p:nvCxnSpPr>
        <p:spPr>
          <a:xfrm>
            <a:off x="153275" y="1726157"/>
            <a:ext cx="8794113" cy="0"/>
          </a:xfrm>
          <a:prstGeom prst="line">
            <a:avLst/>
          </a:prstGeom>
          <a:noFill/>
          <a:ln w="19050" cap="flat" cmpd="sng" algn="ctr">
            <a:solidFill>
              <a:srgbClr val="5B9BD5"/>
            </a:solidFill>
            <a:prstDash val="solid"/>
            <a:miter lim="800000"/>
          </a:ln>
          <a:effectLst/>
        </p:spPr>
      </p:cxnSp>
      <p:sp>
        <p:nvSpPr>
          <p:cNvPr id="99" name="Прямоугольник 98"/>
          <p:cNvSpPr/>
          <p:nvPr/>
        </p:nvSpPr>
        <p:spPr>
          <a:xfrm>
            <a:off x="712712" y="1971851"/>
            <a:ext cx="8292475" cy="300081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just" fontAlgn="ctr"/>
            <a:r>
              <a:rPr lang="ru-RU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Концепции развития сельских территорий на 2023-2027 годы 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едусмотрены мероприятия по развитию приграничных территорий:</a:t>
            </a:r>
          </a:p>
          <a:p>
            <a:pPr algn="just" fontAlgn="ctr"/>
            <a:endParaRPr lang="kk-KZ" sz="8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роительство, реконструкция и ремонт социальной и инженерной инфраструктуры в приграничных районах </a:t>
            </a:r>
          </a:p>
          <a:p>
            <a:pPr algn="just" fontAlgn="ctr"/>
            <a:endParaRPr lang="ru-RU" sz="8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еспечение приграничных сельских населенных пунктов отечественными телеканалами цифрового эфирного теле-, радиовещания</a:t>
            </a: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8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ыработка предложений по введению надбавки к заработной плате жителям приграничных сельских округов </a:t>
            </a:r>
            <a:r>
              <a:rPr lang="ru-RU" sz="15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рудодефицитных</a:t>
            </a: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гионов</a:t>
            </a: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устройство инфраструктуры пунктов пропусков</a:t>
            </a: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15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0" name="Рисунок 11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6389" y="2069302"/>
            <a:ext cx="452076" cy="435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1" name="Прямоугольник 110"/>
          <p:cNvSpPr/>
          <p:nvPr/>
        </p:nvSpPr>
        <p:spPr>
          <a:xfrm>
            <a:off x="4774218" y="734803"/>
            <a:ext cx="4173170" cy="769433"/>
          </a:xfrm>
          <a:prstGeom prst="rect">
            <a:avLst/>
          </a:prstGeom>
        </p:spPr>
        <p:txBody>
          <a:bodyPr wrap="square" lIns="121912" tIns="60956" rIns="121912" bIns="60956">
            <a:spAutoFit/>
          </a:bodyPr>
          <a:lstStyle/>
          <a:p>
            <a:pPr algn="ctr" defTabSz="681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Формирование условий по </a:t>
            </a:r>
            <a:r>
              <a:rPr lang="ru-RU" sz="1400" b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вышению качества 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изни </a:t>
            </a:r>
          </a:p>
          <a:p>
            <a:pPr algn="ctr" defTabSz="681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ельчан и</a:t>
            </a:r>
            <a:r>
              <a:rPr lang="ru-RU" sz="1400" b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уровня их доходов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712712" y="872145"/>
            <a:ext cx="3502685" cy="500135"/>
          </a:xfrm>
          <a:prstGeom prst="rect">
            <a:avLst/>
          </a:prstGeom>
          <a:noFill/>
        </p:spPr>
        <p:txBody>
          <a:bodyPr wrap="square" lIns="68577" tIns="34289" rIns="68577" bIns="34289" rtlCol="0" anchor="ctr">
            <a:spAutoFit/>
          </a:bodyPr>
          <a:lstStyle/>
          <a:p>
            <a:pPr algn="ctr" defTabSz="681124"/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становление Правительства РК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 28 марта 2023 года №270 </a:t>
            </a:r>
          </a:p>
        </p:txBody>
      </p:sp>
      <p:sp>
        <p:nvSpPr>
          <p:cNvPr id="118" name="Freeform 64">
            <a:extLst>
              <a:ext uri="{FF2B5EF4-FFF2-40B4-BE49-F238E27FC236}">
                <a16:creationId xmlns="" xmlns:a16="http://schemas.microsoft.com/office/drawing/2014/main" id="{EE53E58D-0A07-4B1C-B5C4-85DFC1214AEB}"/>
              </a:ext>
            </a:extLst>
          </p:cNvPr>
          <p:cNvSpPr>
            <a:spLocks/>
          </p:cNvSpPr>
          <p:nvPr/>
        </p:nvSpPr>
        <p:spPr bwMode="auto">
          <a:xfrm>
            <a:off x="280249" y="901099"/>
            <a:ext cx="403479" cy="396769"/>
          </a:xfrm>
          <a:custGeom>
            <a:avLst/>
            <a:gdLst>
              <a:gd name="T0" fmla="*/ 31 w 229"/>
              <a:gd name="T1" fmla="*/ 83 h 187"/>
              <a:gd name="T2" fmla="*/ 73 w 229"/>
              <a:gd name="T3" fmla="*/ 125 h 187"/>
              <a:gd name="T4" fmla="*/ 198 w 229"/>
              <a:gd name="T5" fmla="*/ 0 h 187"/>
              <a:gd name="T6" fmla="*/ 229 w 229"/>
              <a:gd name="T7" fmla="*/ 31 h 187"/>
              <a:gd name="T8" fmla="*/ 73 w 229"/>
              <a:gd name="T9" fmla="*/ 187 h 187"/>
              <a:gd name="T10" fmla="*/ 41 w 229"/>
              <a:gd name="T11" fmla="*/ 155 h 187"/>
              <a:gd name="T12" fmla="*/ 0 w 229"/>
              <a:gd name="T13" fmla="*/ 114 h 187"/>
              <a:gd name="T14" fmla="*/ 31 w 229"/>
              <a:gd name="T15" fmla="*/ 83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9" h="187">
                <a:moveTo>
                  <a:pt x="31" y="83"/>
                </a:moveTo>
                <a:cubicBezTo>
                  <a:pt x="73" y="125"/>
                  <a:pt x="73" y="125"/>
                  <a:pt x="73" y="125"/>
                </a:cubicBezTo>
                <a:cubicBezTo>
                  <a:pt x="198" y="0"/>
                  <a:pt x="198" y="0"/>
                  <a:pt x="198" y="0"/>
                </a:cubicBezTo>
                <a:cubicBezTo>
                  <a:pt x="229" y="31"/>
                  <a:pt x="229" y="31"/>
                  <a:pt x="229" y="31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4" y="178"/>
                  <a:pt x="53" y="168"/>
                  <a:pt x="41" y="155"/>
                </a:cubicBezTo>
                <a:cubicBezTo>
                  <a:pt x="29" y="143"/>
                  <a:pt x="16" y="130"/>
                  <a:pt x="0" y="114"/>
                </a:cubicBezTo>
                <a:lnTo>
                  <a:pt x="31" y="83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/>
          <a:lstStyle/>
          <a:p>
            <a:pPr marL="0" marR="0" lvl="0" indent="0" defTabSz="10426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20" name="Рисунок 119">
            <a:extLst>
              <a:ext uri="{FF2B5EF4-FFF2-40B4-BE49-F238E27FC236}">
                <a16:creationId xmlns:a16="http://schemas.microsoft.com/office/drawing/2014/main" xmlns="" id="{BE7C1517-5DF4-43E4-A585-E06D52AB6F8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93020" y="773383"/>
            <a:ext cx="562395" cy="561209"/>
          </a:xfrm>
          <a:prstGeom prst="rect">
            <a:avLst/>
          </a:prstGeom>
        </p:spPr>
      </p:pic>
      <p:sp>
        <p:nvSpPr>
          <p:cNvPr id="121" name="TextBox 120"/>
          <p:cNvSpPr txBox="1"/>
          <p:nvPr/>
        </p:nvSpPr>
        <p:spPr>
          <a:xfrm>
            <a:off x="8797159" y="4897279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1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4</a:t>
            </a:r>
            <a:endParaRPr lang="kk-KZ" sz="1000" dirty="0" smtClean="0">
              <a:solidFill>
                <a:srgbClr val="000000"/>
              </a:solidFill>
              <a:latin typeface="Calibri" panose="020F0502020204030204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536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2"/>
          <p:cNvCxnSpPr/>
          <p:nvPr/>
        </p:nvCxnSpPr>
        <p:spPr>
          <a:xfrm>
            <a:off x="0" y="31999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Объект 1"/>
          <p:cNvSpPr txBox="1">
            <a:spLocks/>
          </p:cNvSpPr>
          <p:nvPr/>
        </p:nvSpPr>
        <p:spPr>
          <a:xfrm>
            <a:off x="0" y="55621"/>
            <a:ext cx="9143999" cy="202817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2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несение изменений в Концепцию развития сельских территорий в части развития приграничных территорий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23521" y="436090"/>
            <a:ext cx="8073638" cy="438580"/>
          </a:xfrm>
          <a:prstGeom prst="rect">
            <a:avLst/>
          </a:prstGeom>
          <a:noFill/>
        </p:spPr>
        <p:txBody>
          <a:bodyPr wrap="square" lIns="68577" tIns="34289" rIns="68577" bIns="34289" rtlCol="0" anchor="ctr">
            <a:spAutoFit/>
          </a:bodyPr>
          <a:lstStyle/>
          <a:p>
            <a:pPr algn="just" defTabSz="681124"/>
            <a:r>
              <a:rPr lang="ru-RU" sz="1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ручение </a:t>
            </a:r>
            <a:r>
              <a:rPr 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лавы </a:t>
            </a:r>
            <a:r>
              <a:rPr lang="ru-RU" sz="1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сударства: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мках разработанной Концепции развития сельских территорий предусмотреть конкретные меры по развитию приграничных 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рриторий</a:t>
            </a:r>
            <a:r>
              <a:rPr lang="en-US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  <a:endParaRPr lang="ru-RU" sz="12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0" name="Straight Connector 124">
            <a:extLst>
              <a:ext uri="{FF2B5EF4-FFF2-40B4-BE49-F238E27FC236}">
                <a16:creationId xmlns="" xmlns:a16="http://schemas.microsoft.com/office/drawing/2014/main" id="{4022312E-D9E3-42F6-8E2D-D89C8C33D6D4}"/>
              </a:ext>
            </a:extLst>
          </p:cNvPr>
          <p:cNvCxnSpPr>
            <a:cxnSpLocks/>
          </p:cNvCxnSpPr>
          <p:nvPr/>
        </p:nvCxnSpPr>
        <p:spPr>
          <a:xfrm>
            <a:off x="176466" y="910690"/>
            <a:ext cx="8794113" cy="0"/>
          </a:xfrm>
          <a:prstGeom prst="line">
            <a:avLst/>
          </a:prstGeom>
          <a:noFill/>
          <a:ln w="19050" cap="flat" cmpd="sng" algn="ctr">
            <a:solidFill>
              <a:srgbClr val="5B9BD5"/>
            </a:solidFill>
            <a:prstDash val="solid"/>
            <a:miter lim="800000"/>
          </a:ln>
          <a:effectLst/>
        </p:spPr>
      </p:cxnSp>
      <p:pic>
        <p:nvPicPr>
          <p:cNvPr id="41" name="Рисунок 40">
            <a:extLst>
              <a:ext uri="{FF2B5EF4-FFF2-40B4-BE49-F238E27FC236}">
                <a16:creationId xmlns:a16="http://schemas.microsoft.com/office/drawing/2014/main" xmlns="" id="{C1EB5847-813B-4A9E-A507-8F3DF0FC6409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50000"/>
          </a:blip>
          <a:stretch>
            <a:fillRect/>
          </a:stretch>
        </p:blipFill>
        <p:spPr>
          <a:xfrm>
            <a:off x="260218" y="443094"/>
            <a:ext cx="389097" cy="397004"/>
          </a:xfrm>
          <a:prstGeom prst="rect">
            <a:avLst/>
          </a:prstGeom>
        </p:spPr>
      </p:pic>
      <p:sp>
        <p:nvSpPr>
          <p:cNvPr id="50" name="Прямоугольник 49"/>
          <p:cNvSpPr/>
          <p:nvPr/>
        </p:nvSpPr>
        <p:spPr>
          <a:xfrm>
            <a:off x="50415" y="1157796"/>
            <a:ext cx="8920164" cy="3985704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just" fontAlgn="ctr"/>
            <a:endParaRPr lang="kk-KZ" sz="7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водится дополнительный анализ </a:t>
            </a:r>
            <a:r>
              <a:rPr lang="kk-KZ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сравнение показателей 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ЭР, сбор данных по проблемным вопросам, определяется класификация приграничных населенных пунктов для приоритетной господдержки)</a:t>
            </a:r>
            <a:endParaRPr lang="ru-RU" sz="900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3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зучение международного опыта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КНР, РФ, Мексика – установление дополнительных коэффициентов к трудовому стажу, повышение уровня образовательного процесса, приоритетное развитие инфраструктуры, создание туристических кластеров и др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endParaRPr lang="ru-RU" sz="900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 fontAlgn="ctr"/>
            <a:endParaRPr lang="ru-RU" sz="3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ырабатываются новые стратегические подходы и направления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дифференцированный подход для применения мер господдержки – приграничные районы, где наблюдается отток населения, имеются сложные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родно-климатическими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словия, дефицит кадров и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р.)</a:t>
            </a: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3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удет составлен перечень конкретных мероприятий с указанием ответственных исполнителей и сроков реализации </a:t>
            </a:r>
            <a:endParaRPr lang="ru-RU" sz="900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витие </a:t>
            </a:r>
            <a:r>
              <a:rPr lang="kk-KZ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истем водоснабжения, обеспечение жильем, реконструкция 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 строительство дорог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витие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фраструктуры в рамках «</a:t>
            </a:r>
            <a:r>
              <a:rPr lang="ru-RU" sz="9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ыл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Ел </a:t>
            </a:r>
            <a:r>
              <a:rPr lang="ru-RU" sz="9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сігі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kk-KZ" sz="900" i="1" dirty="0" smtClean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</a:rPr>
              <a:t>обустройство </a:t>
            </a:r>
            <a:r>
              <a:rPr lang="kk-KZ" sz="900" i="1" dirty="0">
                <a:solidFill>
                  <a:srgbClr val="4472C4">
                    <a:lumMod val="50000"/>
                  </a:srgbClr>
                </a:solidFill>
                <a:latin typeface="Arial" panose="020B0604020202020204" pitchFamily="34" charset="0"/>
              </a:rPr>
              <a:t>инфраструктуры пунктов пропусков </a:t>
            </a:r>
            <a:endParaRPr lang="kk-KZ" sz="900" i="1" dirty="0" smtClean="0">
              <a:solidFill>
                <a:srgbClr val="4472C4">
                  <a:lumMod val="50000"/>
                </a:srgbClr>
              </a:solidFill>
              <a:latin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ализация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онных проектов в приграничных районах с участием частного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питала</a:t>
            </a:r>
            <a:r>
              <a:rPr lang="ru-RU" sz="900" i="1" dirty="0" smtClean="0">
                <a:solidFill>
                  <a:srgbClr val="4472C4">
                    <a:lumMod val="50000"/>
                  </a:srgbClr>
                </a:solidFill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ддержка предпринимательства</a:t>
            </a:r>
            <a:r>
              <a:rPr lang="ru-RU" sz="900" i="1" dirty="0" smtClean="0">
                <a:solidFill>
                  <a:srgbClr val="4472C4">
                    <a:lumMod val="50000"/>
                  </a:srgbClr>
                </a:solidFill>
              </a:rPr>
              <a:t>,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том числе выделение грантов,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ля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чинающих предпринимателей 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туризм </a:t>
            </a:r>
            <a:r>
              <a:rPr lang="kk-KZ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/Х и др</a:t>
            </a:r>
            <a:r>
              <a:rPr lang="kk-KZ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)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становление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полнительных коэффициентов к трудовому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ажу (1,5) и сниженный тариф на электроэнергию в населенных пунктах со сложно природно-климатических условиями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витие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 усиление трансграничных торговых центров с приграничными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сударствами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ссмотрение вопросов восстановления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атуса бывших приграничных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йонов</a:t>
            </a:r>
            <a:endParaRPr lang="ru-RU" sz="900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водится расчет по индикаторам и ожидаемым результатам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обеспеченность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граничных сел и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родов показателями СРС, увеличение </a:t>
            </a:r>
            <a:r>
              <a:rPr lang="ru-RU" sz="9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ли пользователей сети интернет </a:t>
            </a:r>
            <a:r>
              <a:rPr lang="ru-RU" sz="9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 др.) </a:t>
            </a:r>
          </a:p>
          <a:p>
            <a:pPr marL="285750" indent="-285750" algn="just" fontAlgn="ctr">
              <a:buFont typeface="Wingdings" panose="05000000000000000000" pitchFamily="2" charset="2"/>
              <a:buChar char="ü"/>
            </a:pPr>
            <a:endParaRPr lang="ru-RU" sz="300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 fontAlgn="ctr"/>
            <a:r>
              <a:rPr lang="ru-RU" sz="1000" b="1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имечание: </a:t>
            </a:r>
            <a:r>
              <a:rPr lang="ru-RU" sz="10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азрабатывается </a:t>
            </a:r>
            <a:r>
              <a:rPr lang="ru-RU" sz="10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ПРК </a:t>
            </a:r>
            <a:r>
              <a:rPr lang="ru-RU" sz="10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 внесением </a:t>
            </a:r>
            <a:r>
              <a:rPr lang="ru-RU" sz="10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ополнений в </a:t>
            </a:r>
            <a:r>
              <a:rPr lang="ru-RU" sz="1000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онцепцию, где предусматривается отдельный раздел по развитию приграничных территорий</a:t>
            </a:r>
            <a:endParaRPr lang="ru-RU" sz="1000" i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454766" y="997773"/>
            <a:ext cx="8277353" cy="30777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just" fontAlgn="ctr"/>
            <a:r>
              <a:rPr lang="kk-KZ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нимаемые </a:t>
            </a:r>
            <a:r>
              <a:rPr lang="kk-KZ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ры:</a:t>
            </a:r>
            <a:endParaRPr lang="kk-KZ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8797159" y="4897279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kk-KZ" sz="1000" dirty="0">
                <a:solidFill>
                  <a:srgbClr val="000000"/>
                </a:solidFill>
                <a:ea typeface="ＭＳ Ｐゴシック"/>
              </a:rPr>
              <a:t>5</a:t>
            </a:r>
            <a:endParaRPr lang="kk-KZ" sz="1000" dirty="0" smtClean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13869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Овал 59"/>
          <p:cNvSpPr/>
          <p:nvPr/>
        </p:nvSpPr>
        <p:spPr>
          <a:xfrm>
            <a:off x="4541154" y="2154414"/>
            <a:ext cx="432258" cy="423591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49" name="Овал 48"/>
          <p:cNvSpPr/>
          <p:nvPr/>
        </p:nvSpPr>
        <p:spPr>
          <a:xfrm>
            <a:off x="4541154" y="2814407"/>
            <a:ext cx="429649" cy="439872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76" name="Овал 75"/>
          <p:cNvSpPr/>
          <p:nvPr/>
        </p:nvSpPr>
        <p:spPr>
          <a:xfrm>
            <a:off x="4541154" y="1444734"/>
            <a:ext cx="432258" cy="42913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4541154" y="3504214"/>
            <a:ext cx="429649" cy="429362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93" name="Овал 92"/>
          <p:cNvSpPr/>
          <p:nvPr/>
        </p:nvSpPr>
        <p:spPr>
          <a:xfrm>
            <a:off x="239510" y="1986944"/>
            <a:ext cx="490960" cy="443788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103" name="Овал 102"/>
          <p:cNvSpPr/>
          <p:nvPr/>
        </p:nvSpPr>
        <p:spPr>
          <a:xfrm>
            <a:off x="239510" y="2925154"/>
            <a:ext cx="494058" cy="499358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191514" name="Рисунок 1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3326" y="2027645"/>
            <a:ext cx="328188" cy="317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1515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042" y="2998383"/>
            <a:ext cx="359174" cy="34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68422" y="2013074"/>
            <a:ext cx="2007169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ctr">
              <a:spcBef>
                <a:spcPts val="100"/>
              </a:spcBef>
              <a:defRPr/>
            </a:pP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граничные СНП</a:t>
            </a:r>
            <a:endParaRPr lang="ru-RU" sz="1200" kern="0" dirty="0">
              <a:solidFill>
                <a:srgbClr val="2E2E38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27369" y="3028802"/>
            <a:ext cx="1401283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ctr">
              <a:spcBef>
                <a:spcPts val="100"/>
              </a:spcBef>
              <a:defRPr/>
            </a:pP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</a:t>
            </a: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23930" y="2075638"/>
            <a:ext cx="972000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514184">
              <a:defRPr/>
            </a:pPr>
            <a:r>
              <a:rPr lang="ru-RU" sz="18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0</a:t>
            </a:r>
            <a:endParaRPr lang="ru-RU" sz="1800" b="1" kern="0" dirty="0">
              <a:solidFill>
                <a:srgbClr val="2E2E38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13164" y="3019681"/>
            <a:ext cx="1702240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514184">
              <a:defRPr/>
            </a:pPr>
            <a:r>
              <a:rPr lang="ru-RU" sz="18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462</a:t>
            </a:r>
            <a:endParaRPr lang="ru-RU" sz="1800" b="1" kern="0" dirty="0">
              <a:solidFill>
                <a:srgbClr val="188CE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3" name="Рисунок 82">
            <a:extLst>
              <a:ext uri="{FF2B5EF4-FFF2-40B4-BE49-F238E27FC236}">
                <a16:creationId xmlns="" xmlns:a16="http://schemas.microsoft.com/office/drawing/2014/main" id="{351A3ECF-30FA-4A5D-9346-EEDE15CA452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85074" y="1481264"/>
            <a:ext cx="345202" cy="345202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="" xmlns:a16="http://schemas.microsoft.com/office/drawing/2014/main" id="{5A8EDC4D-7B2C-4851-A9B7-599A640807A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92781" y="3576414"/>
            <a:ext cx="314078" cy="293077"/>
          </a:xfrm>
          <a:prstGeom prst="rect">
            <a:avLst/>
          </a:prstGeom>
        </p:spPr>
      </p:pic>
      <p:sp>
        <p:nvSpPr>
          <p:cNvPr id="90" name="Прямоугольник 89"/>
          <p:cNvSpPr/>
          <p:nvPr/>
        </p:nvSpPr>
        <p:spPr>
          <a:xfrm>
            <a:off x="7634480" y="1519894"/>
            <a:ext cx="13564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14184">
              <a:spcBef>
                <a:spcPts val="100"/>
              </a:spcBef>
              <a:defRPr/>
            </a:pPr>
            <a:r>
              <a:rPr lang="ru-RU" sz="12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6 </a:t>
            </a:r>
            <a:r>
              <a:rPr lang="ru-RU" sz="1200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  <a:endParaRPr lang="ru-RU" sz="1400" kern="0" dirty="0" smtClean="0">
              <a:solidFill>
                <a:srgbClr val="188CE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="" xmlns:a16="http://schemas.microsoft.com/office/drawing/2014/main" id="{CE298C5B-5218-4642-994E-8DB612FA561E}"/>
              </a:ext>
            </a:extLst>
          </p:cNvPr>
          <p:cNvSpPr/>
          <p:nvPr/>
        </p:nvSpPr>
        <p:spPr>
          <a:xfrm>
            <a:off x="5137471" y="1391700"/>
            <a:ext cx="2052909" cy="553949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sz="12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ные сети </a:t>
            </a:r>
            <a:br>
              <a:rPr lang="ru-RU" sz="12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газо-, водо-, электро-, </a:t>
            </a:r>
            <a:b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еплоснабжения)</a:t>
            </a:r>
          </a:p>
        </p:txBody>
      </p:sp>
      <p:sp>
        <p:nvSpPr>
          <p:cNvPr id="128" name="Прямоугольник 127">
            <a:extLst>
              <a:ext uri="{FF2B5EF4-FFF2-40B4-BE49-F238E27FC236}">
                <a16:creationId xmlns="" xmlns:a16="http://schemas.microsoft.com/office/drawing/2014/main" id="{13300179-1714-4040-9B27-3EEA2578C1FC}"/>
              </a:ext>
            </a:extLst>
          </p:cNvPr>
          <p:cNvSpPr/>
          <p:nvPr/>
        </p:nvSpPr>
        <p:spPr>
          <a:xfrm>
            <a:off x="5121480" y="2128227"/>
            <a:ext cx="2138457" cy="738615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sz="12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ы образования</a:t>
            </a:r>
          </a:p>
          <a:p>
            <a:pPr fontAlgn="ctr"/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детсады, школы)</a:t>
            </a:r>
          </a:p>
          <a:p>
            <a:pPr fontAlgn="ctr"/>
            <a:r>
              <a:rPr lang="ru-RU" sz="12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fontAlgn="ctr"/>
            <a:r>
              <a:rPr lang="ru-RU" sz="900" i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9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="" xmlns:a16="http://schemas.microsoft.com/office/drawing/2014/main" id="{5C62CEFA-329F-4EF8-93BA-2F8F6F1DB680}"/>
              </a:ext>
            </a:extLst>
          </p:cNvPr>
          <p:cNvSpPr/>
          <p:nvPr/>
        </p:nvSpPr>
        <p:spPr>
          <a:xfrm>
            <a:off x="5137471" y="2745251"/>
            <a:ext cx="2918565" cy="553949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sz="12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ы здравоохранения</a:t>
            </a:r>
          </a:p>
          <a:p>
            <a:pPr fontAlgn="ctr"/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фельдшерские пункты, </a:t>
            </a:r>
            <a:b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9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мбулатории, поликлиники)</a:t>
            </a:r>
          </a:p>
        </p:txBody>
      </p:sp>
      <p:sp>
        <p:nvSpPr>
          <p:cNvPr id="162" name="Прямоугольник 161"/>
          <p:cNvSpPr/>
          <p:nvPr/>
        </p:nvSpPr>
        <p:spPr>
          <a:xfrm>
            <a:off x="7749897" y="2257894"/>
            <a:ext cx="11256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14184">
              <a:spcBef>
                <a:spcPts val="100"/>
              </a:spcBef>
              <a:defRPr/>
            </a:pPr>
            <a:r>
              <a:rPr lang="ru-RU" sz="12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2 </a:t>
            </a:r>
            <a:r>
              <a:rPr lang="ru-RU" sz="1200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</a:p>
        </p:txBody>
      </p:sp>
      <p:sp>
        <p:nvSpPr>
          <p:cNvPr id="163" name="Прямоугольник 162"/>
          <p:cNvSpPr/>
          <p:nvPr/>
        </p:nvSpPr>
        <p:spPr>
          <a:xfrm>
            <a:off x="7799349" y="2878079"/>
            <a:ext cx="10406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14184">
              <a:spcBef>
                <a:spcPts val="100"/>
              </a:spcBef>
              <a:defRPr/>
            </a:pPr>
            <a:r>
              <a:rPr lang="ru-RU" sz="12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</a:t>
            </a:r>
            <a:r>
              <a:rPr lang="ru-RU" sz="1200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="" xmlns:a16="http://schemas.microsoft.com/office/drawing/2014/main" id="{3CBF0F42-62CB-4C90-B0F6-24EB54455C47}"/>
              </a:ext>
            </a:extLst>
          </p:cNvPr>
          <p:cNvSpPr/>
          <p:nvPr/>
        </p:nvSpPr>
        <p:spPr>
          <a:xfrm>
            <a:off x="5137471" y="3531358"/>
            <a:ext cx="2499862" cy="461616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sz="12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ипоселковые </a:t>
            </a:r>
            <a:br>
              <a:rPr lang="ru-RU" sz="12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ги</a:t>
            </a:r>
          </a:p>
        </p:txBody>
      </p:sp>
      <p:cxnSp>
        <p:nvCxnSpPr>
          <p:cNvPr id="48" name="Straight Connector 32">
            <a:extLst>
              <a:ext uri="{FF2B5EF4-FFF2-40B4-BE49-F238E27FC236}">
                <a16:creationId xmlns="" xmlns:a16="http://schemas.microsoft.com/office/drawing/2014/main" id="{8D60ED13-351E-4258-B3B9-01A5E8377D3E}"/>
              </a:ext>
            </a:extLst>
          </p:cNvPr>
          <p:cNvCxnSpPr/>
          <p:nvPr/>
        </p:nvCxnSpPr>
        <p:spPr>
          <a:xfrm>
            <a:off x="0" y="587077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 flipV="1">
            <a:off x="5219204" y="2674101"/>
            <a:ext cx="3441617" cy="24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5235187" y="3424512"/>
            <a:ext cx="3463768" cy="1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8845158" y="4883631"/>
            <a:ext cx="242858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Calibri" panose="020F0502020204030204" pitchFamily="34" charset="0"/>
              </a:rPr>
              <a:t>6</a:t>
            </a:r>
            <a:endParaRPr lang="ru-RU" sz="1000" dirty="0">
              <a:latin typeface="Calibri" panose="020F0502020204030204" pitchFamily="34" charset="0"/>
            </a:endParaRPr>
          </a:p>
        </p:txBody>
      </p:sp>
      <p:sp>
        <p:nvSpPr>
          <p:cNvPr id="44" name="Объект 1"/>
          <p:cNvSpPr>
            <a:spLocks noGrp="1"/>
          </p:cNvSpPr>
          <p:nvPr>
            <p:ph sz="quarter" idx="11"/>
          </p:nvPr>
        </p:nvSpPr>
        <p:spPr>
          <a:xfrm>
            <a:off x="-30846" y="108595"/>
            <a:ext cx="9144000" cy="435812"/>
          </a:xfrm>
        </p:spPr>
        <p:txBody>
          <a:bodyPr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17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звитие инфраструктуры на приграничных территорий в рамках «</a:t>
            </a:r>
            <a:r>
              <a:rPr lang="ru-RU" sz="17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уыл</a:t>
            </a:r>
            <a:r>
              <a:rPr lang="ru-RU" sz="17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– ел </a:t>
            </a:r>
            <a:r>
              <a:rPr lang="ru-RU" sz="1700" b="1" cap="small" dirty="0" err="1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есігі</a:t>
            </a:r>
            <a:r>
              <a:rPr lang="ru-RU" sz="17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»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971667" y="1391700"/>
            <a:ext cx="226337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2019 - 2022 годы</a:t>
            </a:r>
          </a:p>
        </p:txBody>
      </p:sp>
      <p:cxnSp>
        <p:nvCxnSpPr>
          <p:cNvPr id="45" name="Straight Connector 4">
            <a:extLst>
              <a:ext uri="{FF2B5EF4-FFF2-40B4-BE49-F238E27FC236}">
                <a16:creationId xmlns="" xmlns:a16="http://schemas.microsoft.com/office/drawing/2014/main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832833" y="2670974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66295" y="634065"/>
            <a:ext cx="90048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По РК насчитывается </a:t>
            </a:r>
            <a:r>
              <a:rPr lang="ru-RU" sz="2400" b="1" spc="-100" dirty="0" smtClean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3,5</a:t>
            </a:r>
            <a:r>
              <a:rPr lang="ru-RU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тыс. СНП с потенциалом развития, из них </a:t>
            </a:r>
            <a:r>
              <a:rPr lang="ru-RU" sz="2400" b="1" spc="-100" dirty="0" smtClean="0">
                <a:solidFill>
                  <a:srgbClr val="00B05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915</a:t>
            </a:r>
            <a:r>
              <a:rPr lang="ru-RU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spc="-100" dirty="0" smtClean="0">
                <a:solidFill>
                  <a:srgbClr val="003BA3">
                    <a:lumMod val="50000"/>
                  </a:srgbClr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приграничных</a:t>
            </a:r>
            <a:endParaRPr lang="ru-RU" sz="1600" b="1" spc="-100" dirty="0">
              <a:solidFill>
                <a:srgbClr val="003BA3">
                  <a:lumMod val="50000"/>
                </a:srgbClr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7675309" y="3608622"/>
            <a:ext cx="12538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514184">
              <a:spcBef>
                <a:spcPts val="100"/>
              </a:spcBef>
              <a:defRPr/>
            </a:pPr>
            <a:r>
              <a:rPr lang="ru-RU" sz="12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064 </a:t>
            </a:r>
            <a:r>
              <a:rPr lang="ru-RU" sz="1200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 flipV="1">
            <a:off x="5177775" y="1986943"/>
            <a:ext cx="3441617" cy="24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object 26"/>
          <p:cNvGrpSpPr/>
          <p:nvPr/>
        </p:nvGrpSpPr>
        <p:grpSpPr>
          <a:xfrm>
            <a:off x="4353548" y="4575573"/>
            <a:ext cx="266873" cy="283278"/>
            <a:chOff x="2493264" y="2305811"/>
            <a:chExt cx="289560" cy="637540"/>
          </a:xfrm>
        </p:grpSpPr>
        <p:sp>
          <p:nvSpPr>
            <p:cNvPr id="55" name="object 27"/>
            <p:cNvSpPr/>
            <p:nvPr/>
          </p:nvSpPr>
          <p:spPr>
            <a:xfrm>
              <a:off x="2497836" y="2310383"/>
              <a:ext cx="181610" cy="628015"/>
            </a:xfrm>
            <a:custGeom>
              <a:avLst/>
              <a:gdLst/>
              <a:ahLst/>
              <a:cxnLst/>
              <a:rect l="l" t="t" r="r" b="b"/>
              <a:pathLst>
                <a:path w="181610" h="628014">
                  <a:moveTo>
                    <a:pt x="0" y="0"/>
                  </a:moveTo>
                  <a:lnTo>
                    <a:pt x="181356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85C7FF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object 28"/>
            <p:cNvSpPr/>
            <p:nvPr/>
          </p:nvSpPr>
          <p:spPr>
            <a:xfrm>
              <a:off x="2598420" y="2310383"/>
              <a:ext cx="180340" cy="628015"/>
            </a:xfrm>
            <a:custGeom>
              <a:avLst/>
              <a:gdLst/>
              <a:ahLst/>
              <a:cxnLst/>
              <a:rect l="l" t="t" r="r" b="b"/>
              <a:pathLst>
                <a:path w="180339" h="628014">
                  <a:moveTo>
                    <a:pt x="0" y="0"/>
                  </a:moveTo>
                  <a:lnTo>
                    <a:pt x="179831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</p:grpSp>
      <p:cxnSp>
        <p:nvCxnSpPr>
          <p:cNvPr id="58" name="Straight Connector 4">
            <a:extLst>
              <a:ext uri="{FF2B5EF4-FFF2-40B4-BE49-F238E27FC236}">
                <a16:creationId xmlns="" xmlns:a16="http://schemas.microsoft.com/office/drawing/2014/main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187080" y="1277061"/>
            <a:ext cx="8658078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Рисунок 5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592781" y="2850512"/>
            <a:ext cx="337495" cy="337362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590637" y="2154414"/>
            <a:ext cx="344552" cy="344461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3691188" y="4078657"/>
            <a:ext cx="11388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23</a:t>
            </a:r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год</a:t>
            </a:r>
            <a:endParaRPr lang="ru-RU" sz="1600" b="1" dirty="0"/>
          </a:p>
        </p:txBody>
      </p:sp>
      <p:sp>
        <p:nvSpPr>
          <p:cNvPr id="40" name="Овал 39"/>
          <p:cNvSpPr/>
          <p:nvPr/>
        </p:nvSpPr>
        <p:spPr>
          <a:xfrm>
            <a:off x="903979" y="4462589"/>
            <a:ext cx="543390" cy="50691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5069049" y="4468274"/>
            <a:ext cx="546489" cy="516757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chemeClr val="accent3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7922">
              <a:defRPr/>
            </a:pPr>
            <a:endParaRPr lang="ru-RU" sz="1275" kern="0" dirty="0">
              <a:solidFill>
                <a:prstClr val="white"/>
              </a:solidFill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42" name="Рисунок 1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82449" y="4503291"/>
            <a:ext cx="375964" cy="36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21480" y="4541504"/>
            <a:ext cx="392706" cy="37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476041" y="4462589"/>
            <a:ext cx="2007169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ctr">
              <a:spcBef>
                <a:spcPts val="100"/>
              </a:spcBef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граничные СНП</a:t>
            </a:r>
          </a:p>
        </p:txBody>
      </p:sp>
      <p:sp>
        <p:nvSpPr>
          <p:cNvPr id="52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45190" y="4571200"/>
            <a:ext cx="1401283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ctr">
              <a:spcBef>
                <a:spcPts val="100"/>
              </a:spcBef>
              <a:defRPr/>
            </a:pP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</a:t>
            </a:r>
          </a:p>
        </p:txBody>
      </p:sp>
      <p:sp>
        <p:nvSpPr>
          <p:cNvPr id="6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288607" y="4540040"/>
            <a:ext cx="972000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514184">
              <a:defRPr/>
            </a:pPr>
            <a:r>
              <a:rPr lang="kk-KZ" sz="18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4</a:t>
            </a:r>
            <a:endParaRPr lang="ru-RU" sz="1800" b="1" kern="0" dirty="0">
              <a:solidFill>
                <a:srgbClr val="2E2E38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447184" y="4566249"/>
            <a:ext cx="1702240" cy="4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514184">
              <a:defRPr/>
            </a:pPr>
            <a:r>
              <a:rPr lang="kk-KZ" sz="1800" b="1" kern="0" dirty="0" smtClean="0">
                <a:solidFill>
                  <a:srgbClr val="188CE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3</a:t>
            </a:r>
            <a:endParaRPr lang="ru-RU" sz="1800" b="1" kern="0" dirty="0">
              <a:solidFill>
                <a:srgbClr val="188CE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239510" y="4029589"/>
            <a:ext cx="8494950" cy="160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object 26"/>
          <p:cNvGrpSpPr/>
          <p:nvPr/>
        </p:nvGrpSpPr>
        <p:grpSpPr>
          <a:xfrm>
            <a:off x="3817510" y="2298293"/>
            <a:ext cx="485937" cy="1152572"/>
            <a:chOff x="2493264" y="2305811"/>
            <a:chExt cx="289560" cy="637540"/>
          </a:xfrm>
        </p:grpSpPr>
        <p:sp>
          <p:nvSpPr>
            <p:cNvPr id="67" name="object 27"/>
            <p:cNvSpPr/>
            <p:nvPr/>
          </p:nvSpPr>
          <p:spPr>
            <a:xfrm>
              <a:off x="2497836" y="2310383"/>
              <a:ext cx="181610" cy="628015"/>
            </a:xfrm>
            <a:custGeom>
              <a:avLst/>
              <a:gdLst/>
              <a:ahLst/>
              <a:cxnLst/>
              <a:rect l="l" t="t" r="r" b="b"/>
              <a:pathLst>
                <a:path w="181610" h="628014">
                  <a:moveTo>
                    <a:pt x="0" y="0"/>
                  </a:moveTo>
                  <a:lnTo>
                    <a:pt x="181356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85C7FF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object 28"/>
            <p:cNvSpPr/>
            <p:nvPr/>
          </p:nvSpPr>
          <p:spPr>
            <a:xfrm>
              <a:off x="2598420" y="2310383"/>
              <a:ext cx="180340" cy="628015"/>
            </a:xfrm>
            <a:custGeom>
              <a:avLst/>
              <a:gdLst/>
              <a:ahLst/>
              <a:cxnLst/>
              <a:rect l="l" t="t" r="r" b="b"/>
              <a:pathLst>
                <a:path w="180339" h="628014">
                  <a:moveTo>
                    <a:pt x="0" y="0"/>
                  </a:moveTo>
                  <a:lnTo>
                    <a:pt x="179831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476824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394" y="1345"/>
          <a:ext cx="1190" cy="1190"/>
        </p:xfrm>
        <a:graphic>
          <a:graphicData uri="http://schemas.openxmlformats.org/presentationml/2006/ole">
            <p:oleObj spid="_x0000_s2212" name="think-cell Slide" r:id="rId6" imgW="0" imgH="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143204" y="153"/>
            <a:ext cx="119056" cy="119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10">
              <a:defRPr/>
            </a:pPr>
            <a:endParaRPr lang="en-GB" sz="1125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1" name="Straight Connector 32">
            <a:extLst>
              <a:ext uri="{FF2B5EF4-FFF2-40B4-BE49-F238E27FC236}">
                <a16:creationId xmlns:a16="http://schemas.microsoft.com/office/drawing/2014/main" xmlns="" id="{6C0B85D7-80A1-4B3A-96B4-E30488937587}"/>
              </a:ext>
            </a:extLst>
          </p:cNvPr>
          <p:cNvCxnSpPr/>
          <p:nvPr/>
        </p:nvCxnSpPr>
        <p:spPr>
          <a:xfrm>
            <a:off x="298" y="503334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8767673" y="4867282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1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7</a:t>
            </a:r>
            <a:endParaRPr lang="en-US" sz="1000" dirty="0" smtClean="0">
              <a:solidFill>
                <a:srgbClr val="000000"/>
              </a:solidFill>
              <a:latin typeface="Calibri" panose="020F0502020204030204" pitchFamily="34" charset="0"/>
              <a:ea typeface="ＭＳ Ｐゴシック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4078A880-8C11-4663-888F-F5EAD99275BB}"/>
              </a:ext>
            </a:extLst>
          </p:cNvPr>
          <p:cNvSpPr txBox="1">
            <a:spLocks/>
          </p:cNvSpPr>
          <p:nvPr/>
        </p:nvSpPr>
        <p:spPr>
          <a:xfrm>
            <a:off x="2745614" y="1178085"/>
            <a:ext cx="345232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0" lvl="1" indent="0" algn="ctr" defTabSz="895261">
              <a:spcAft>
                <a:spcPts val="600"/>
              </a:spcAft>
              <a:buClr>
                <a:srgbClr val="002960"/>
              </a:buClr>
              <a:buSzTx/>
              <a:buNone/>
              <a:defRPr/>
            </a:pPr>
            <a:r>
              <a:rPr lang="kk-KZ" sz="1800" b="1" cap="small" dirty="0" smtClean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аправления Дорожной карты</a:t>
            </a:r>
            <a:endParaRPr lang="ru-RU" sz="1425" b="1" cap="small" dirty="0">
              <a:solidFill>
                <a:srgbClr val="0070C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61232" y="1532480"/>
            <a:ext cx="36713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здание условий для развития экономики 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61232" y="3451681"/>
            <a:ext cx="31755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витие мер социальной помощи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81384" y="2350018"/>
            <a:ext cx="316964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витие инфраструктуры, </a:t>
            </a:r>
          </a:p>
          <a:p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вышение качества услуг в социалной сфере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177958" y="1532480"/>
            <a:ext cx="36844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здание условий, способствующих </a:t>
            </a:r>
          </a:p>
          <a:p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хождению экспортных и импортных товаров через приграничные районы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177958" y="2649105"/>
            <a:ext cx="36844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звитие </a:t>
            </a:r>
            <a:r>
              <a:rPr lang="ru-RU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истко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рекреационного потенциала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914185" y="4063815"/>
            <a:ext cx="34930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</a:t>
            </a:r>
            <a:r>
              <a:rPr lang="kk-KZ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звитие приграничного сотрудничества</a:t>
            </a:r>
            <a:endParaRPr lang="kk-KZ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" descr="C:\Users\N.Baizakov\Downloads\assets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5389" y="2493631"/>
            <a:ext cx="390814" cy="383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7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34292" y="2652832"/>
            <a:ext cx="414505" cy="446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" descr="C:\Users\a.khamitzhan\Downloads\businessma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6965" y="3254179"/>
            <a:ext cx="379237" cy="448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Объект 1"/>
          <p:cNvSpPr txBox="1">
            <a:spLocks/>
          </p:cNvSpPr>
          <p:nvPr/>
        </p:nvSpPr>
        <p:spPr>
          <a:xfrm>
            <a:off x="0" y="113048"/>
            <a:ext cx="9115322" cy="43581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19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орожная карта по развитию приграничных территорий на 2022-2025 годы </a:t>
            </a:r>
          </a:p>
        </p:txBody>
      </p:sp>
      <p:sp>
        <p:nvSpPr>
          <p:cNvPr id="32" name="object 25"/>
          <p:cNvSpPr/>
          <p:nvPr/>
        </p:nvSpPr>
        <p:spPr>
          <a:xfrm>
            <a:off x="4201846" y="1726490"/>
            <a:ext cx="82096" cy="2958598"/>
          </a:xfrm>
          <a:custGeom>
            <a:avLst/>
            <a:gdLst/>
            <a:ahLst/>
            <a:cxnLst/>
            <a:rect l="l" t="t" r="r" b="b"/>
            <a:pathLst>
              <a:path h="1647825">
                <a:moveTo>
                  <a:pt x="0" y="0"/>
                </a:moveTo>
                <a:lnTo>
                  <a:pt x="0" y="1647443"/>
                </a:lnTo>
              </a:path>
            </a:pathLst>
          </a:custGeom>
          <a:ln w="6096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cxnSp>
        <p:nvCxnSpPr>
          <p:cNvPr id="34" name="Straight Connector 4">
            <a:extLst>
              <a:ext uri="{FF2B5EF4-FFF2-40B4-BE49-F238E27FC236}">
                <a16:creationId xmlns="" xmlns:a16="http://schemas.microsoft.com/office/drawing/2014/main" id="{50ADAB49-8A88-402F-924A-5E7EC1CB825A}"/>
              </a:ext>
            </a:extLst>
          </p:cNvPr>
          <p:cNvCxnSpPr>
            <a:cxnSpLocks/>
          </p:cNvCxnSpPr>
          <p:nvPr/>
        </p:nvCxnSpPr>
        <p:spPr>
          <a:xfrm flipV="1">
            <a:off x="881384" y="2182540"/>
            <a:ext cx="2799188" cy="311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4">
            <a:extLst>
              <a:ext uri="{FF2B5EF4-FFF2-40B4-BE49-F238E27FC236}">
                <a16:creationId xmlns="" xmlns:a16="http://schemas.microsoft.com/office/drawing/2014/main" id="{50ADAB49-8A88-402F-924A-5E7EC1CB825A}"/>
              </a:ext>
            </a:extLst>
          </p:cNvPr>
          <p:cNvCxnSpPr>
            <a:cxnSpLocks/>
          </p:cNvCxnSpPr>
          <p:nvPr/>
        </p:nvCxnSpPr>
        <p:spPr>
          <a:xfrm flipV="1">
            <a:off x="906854" y="3176833"/>
            <a:ext cx="2784589" cy="593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4">
            <a:extLst>
              <a:ext uri="{FF2B5EF4-FFF2-40B4-BE49-F238E27FC236}">
                <a16:creationId xmlns="" xmlns:a16="http://schemas.microsoft.com/office/drawing/2014/main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5277169" y="2495979"/>
            <a:ext cx="3336095" cy="10628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4">
            <a:extLst>
              <a:ext uri="{FF2B5EF4-FFF2-40B4-BE49-F238E27FC236}">
                <a16:creationId xmlns="" xmlns:a16="http://schemas.microsoft.com/office/drawing/2014/main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5277169" y="3333405"/>
            <a:ext cx="3336095" cy="377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5177958" y="3507150"/>
            <a:ext cx="36844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щита приграничных районов от возникновения чрезвычайных ситуаций и обеспечение безопасности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0" name="Straight Connector 4">
            <a:extLst>
              <a:ext uri="{FF2B5EF4-FFF2-40B4-BE49-F238E27FC236}">
                <a16:creationId xmlns="" xmlns:a16="http://schemas.microsoft.com/office/drawing/2014/main" id="{50ADAB49-8A88-402F-924A-5E7EC1CB825A}"/>
              </a:ext>
            </a:extLst>
          </p:cNvPr>
          <p:cNvCxnSpPr>
            <a:cxnSpLocks/>
          </p:cNvCxnSpPr>
          <p:nvPr/>
        </p:nvCxnSpPr>
        <p:spPr>
          <a:xfrm flipV="1">
            <a:off x="895983" y="3975353"/>
            <a:ext cx="2769990" cy="311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239827" y="688667"/>
            <a:ext cx="8463900" cy="284691"/>
          </a:xfrm>
          <a:prstGeom prst="rect">
            <a:avLst/>
          </a:prstGeom>
          <a:noFill/>
        </p:spPr>
        <p:txBody>
          <a:bodyPr wrap="square" lIns="68577" tIns="34289" rIns="68577" bIns="34289" rtlCol="0" anchor="ctr">
            <a:spAutoFit/>
          </a:bodyPr>
          <a:lstStyle/>
          <a:p>
            <a:pPr algn="ctr" defTabSz="681124"/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тверждена Первым заместителем Премьер-Министра РК Скляр Р.В. </a:t>
            </a:r>
            <a:endPara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" name="Picture 9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6965" y="1604148"/>
            <a:ext cx="379237" cy="39695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1" cstate="print">
            <a:biLevel thresh="7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34293" y="1641595"/>
            <a:ext cx="408727" cy="414105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Рисунок 43">
            <a:extLst>
              <a:ext uri="{FF2B5EF4-FFF2-40B4-BE49-F238E27FC236}">
                <a16:creationId xmlns="" xmlns:a16="http://schemas.microsoft.com/office/drawing/2014/main" id="{9259A1A1-5239-4B05-9996-7F7C5561738C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75000"/>
            <a:extLst>
              <a:ext uri="{BEBA8EAE-BF5A-486C-A8C5-ECC9F3942E4B}">
                <a14:imgProps xmlns:a14="http://schemas.microsoft.com/office/drawing/2010/main" xmlns="">
                  <a14:imgLayer r:embed="rId13">
                    <a14:imgEffect>
                      <a14:brightnessContrast bright="100000" contras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6965" y="4130058"/>
            <a:ext cx="348544" cy="410840"/>
          </a:xfrm>
          <a:prstGeom prst="rect">
            <a:avLst/>
          </a:prstGeom>
        </p:spPr>
      </p:pic>
      <p:pic>
        <p:nvPicPr>
          <p:cNvPr id="47" name="Рисунок 46">
            <a:extLst/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634291" y="3540383"/>
            <a:ext cx="420405" cy="4381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402213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394" y="1345"/>
          <a:ext cx="1190" cy="1190"/>
        </p:xfrm>
        <a:graphic>
          <a:graphicData uri="http://schemas.openxmlformats.org/presentationml/2006/ole">
            <p:oleObj spid="_x0000_s4255" name="think-cell Slide" r:id="rId6" imgW="0" imgH="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143204" y="153"/>
            <a:ext cx="119056" cy="1190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10">
              <a:defRPr/>
            </a:pPr>
            <a:endParaRPr lang="en-GB" sz="1125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1" name="Straight Connector 32">
            <a:extLst>
              <a:ext uri="{FF2B5EF4-FFF2-40B4-BE49-F238E27FC236}">
                <a16:creationId xmlns:a16="http://schemas.microsoft.com/office/drawing/2014/main" xmlns="" id="{6C0B85D7-80A1-4B3A-96B4-E30488937587}"/>
              </a:ext>
            </a:extLst>
          </p:cNvPr>
          <p:cNvCxnSpPr/>
          <p:nvPr/>
        </p:nvCxnSpPr>
        <p:spPr>
          <a:xfrm>
            <a:off x="0" y="722595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8797159" y="4897279"/>
            <a:ext cx="346841" cy="24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1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9</a:t>
            </a:r>
            <a:endParaRPr lang="kk-KZ" sz="1000" dirty="0" smtClean="0">
              <a:solidFill>
                <a:srgbClr val="000000"/>
              </a:solidFill>
              <a:latin typeface="Calibri" panose="020F0502020204030204" pitchFamily="34" charset="0"/>
              <a:ea typeface="ＭＳ Ｐゴシック"/>
            </a:endParaRPr>
          </a:p>
        </p:txBody>
      </p:sp>
      <p:sp>
        <p:nvSpPr>
          <p:cNvPr id="31" name="Объект 1"/>
          <p:cNvSpPr txBox="1">
            <a:spLocks/>
          </p:cNvSpPr>
          <p:nvPr/>
        </p:nvSpPr>
        <p:spPr>
          <a:xfrm>
            <a:off x="112432" y="80538"/>
            <a:ext cx="8769841" cy="435812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опросы совершенствования административно-территориального устройства страны в направлении дальнейшего развития регионов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5243" y="3264457"/>
            <a:ext cx="78630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</a:rPr>
              <a:t>В соответствии с распоряжением Премьер-Министра РК от 11 ноября 2022 года №181-ө утвержден </a:t>
            </a:r>
            <a:r>
              <a:rPr lang="ru-RU" sz="12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sz="1200" b="1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«Состав </a:t>
            </a:r>
            <a:r>
              <a:rPr lang="ru-RU" sz="1200" b="1" dirty="0">
                <a:latin typeface="Arial" panose="020B0604020202020204" pitchFamily="34" charset="0"/>
                <a:ea typeface="Times New Roman" panose="02020603050405020304" pitchFamily="18" charset="0"/>
              </a:rPr>
              <a:t>комиссии по вопросам совершенствования административно-территориального устройства Республики Казахстан»</a:t>
            </a:r>
            <a:endParaRPr lang="ru-RU" sz="1200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1065244" y="4590734"/>
            <a:ext cx="80787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Цель: 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опросы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вершенствования административно-территориального устройства страны в направлении дальнейшего развития регионов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BE7C1517-5DF4-43E4-A585-E06D52AB6F8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4608" y="4547420"/>
            <a:ext cx="422103" cy="438099"/>
          </a:xfrm>
          <a:prstGeom prst="rect">
            <a:avLst/>
          </a:prstGeom>
        </p:spPr>
      </p:pic>
      <p:pic>
        <p:nvPicPr>
          <p:cNvPr id="17" name="Picture 2" descr="C:\Users\A.Meirembayev\Downloads\group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4608" y="3952632"/>
            <a:ext cx="422102" cy="473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1065243" y="3928481"/>
            <a:ext cx="78630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став: 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Члены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ппарата правительства и департамента по обеспечению деятельности судов при Центральной избирательной комиссии и Верховном Суде РК, вице-министры заинтересованных министерств и заместители </a:t>
            </a:r>
            <a:r>
              <a:rPr lang="ru-RU" sz="12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кимов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бластей</a:t>
            </a:r>
            <a:endParaRPr lang="kk-KZ" sz="12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BE7C1517-5DF4-43E4-A585-E06D52AB6F8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4609" y="2448146"/>
            <a:ext cx="522876" cy="52651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065243" y="831748"/>
            <a:ext cx="76413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</a:rPr>
              <a:t>В целях повышения административной значимости приграничных территорий созданы новые районы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57484" y="1323743"/>
            <a:ext cx="7970811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кестанская область,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ктаараль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айон – в 2018 году созданы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ктаараль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тысай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йоны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кестанская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ласть,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рыагаш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айон – в 2018 году созданы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ес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рыагаш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йоны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матинская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ласть,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йымбек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йон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в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18 году созданы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ген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йымбек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йоны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осточно-Казахстанская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ласть,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багатай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йон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в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22 году созданы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багатай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ксуатски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айоны</a:t>
            </a:r>
            <a:endParaRPr lang="ru-RU" sz="12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2" name="Straight Connector 32">
            <a:extLst>
              <a:ext uri="{FF2B5EF4-FFF2-40B4-BE49-F238E27FC236}">
                <a16:creationId xmlns:a16="http://schemas.microsoft.com/office/drawing/2014/main" xmlns="" id="{6C0B85D7-80A1-4B3A-96B4-E30488937587}"/>
              </a:ext>
            </a:extLst>
          </p:cNvPr>
          <p:cNvCxnSpPr/>
          <p:nvPr/>
        </p:nvCxnSpPr>
        <p:spPr>
          <a:xfrm>
            <a:off x="0" y="2305688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reeform 64">
            <a:extLst>
              <a:ext uri="{FF2B5EF4-FFF2-40B4-BE49-F238E27FC236}">
                <a16:creationId xmlns="" xmlns:a16="http://schemas.microsoft.com/office/drawing/2014/main" id="{EE53E58D-0A07-4B1C-B5C4-85DFC1214AEB}"/>
              </a:ext>
            </a:extLst>
          </p:cNvPr>
          <p:cNvSpPr>
            <a:spLocks/>
          </p:cNvSpPr>
          <p:nvPr/>
        </p:nvSpPr>
        <p:spPr bwMode="auto">
          <a:xfrm>
            <a:off x="514065" y="888640"/>
            <a:ext cx="403479" cy="396769"/>
          </a:xfrm>
          <a:custGeom>
            <a:avLst/>
            <a:gdLst>
              <a:gd name="T0" fmla="*/ 31 w 229"/>
              <a:gd name="T1" fmla="*/ 83 h 187"/>
              <a:gd name="T2" fmla="*/ 73 w 229"/>
              <a:gd name="T3" fmla="*/ 125 h 187"/>
              <a:gd name="T4" fmla="*/ 198 w 229"/>
              <a:gd name="T5" fmla="*/ 0 h 187"/>
              <a:gd name="T6" fmla="*/ 229 w 229"/>
              <a:gd name="T7" fmla="*/ 31 h 187"/>
              <a:gd name="T8" fmla="*/ 73 w 229"/>
              <a:gd name="T9" fmla="*/ 187 h 187"/>
              <a:gd name="T10" fmla="*/ 41 w 229"/>
              <a:gd name="T11" fmla="*/ 155 h 187"/>
              <a:gd name="T12" fmla="*/ 0 w 229"/>
              <a:gd name="T13" fmla="*/ 114 h 187"/>
              <a:gd name="T14" fmla="*/ 31 w 229"/>
              <a:gd name="T15" fmla="*/ 83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9" h="187">
                <a:moveTo>
                  <a:pt x="31" y="83"/>
                </a:moveTo>
                <a:cubicBezTo>
                  <a:pt x="73" y="125"/>
                  <a:pt x="73" y="125"/>
                  <a:pt x="73" y="125"/>
                </a:cubicBezTo>
                <a:cubicBezTo>
                  <a:pt x="198" y="0"/>
                  <a:pt x="198" y="0"/>
                  <a:pt x="198" y="0"/>
                </a:cubicBezTo>
                <a:cubicBezTo>
                  <a:pt x="229" y="31"/>
                  <a:pt x="229" y="31"/>
                  <a:pt x="229" y="31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4" y="178"/>
                  <a:pt x="53" y="168"/>
                  <a:pt x="41" y="155"/>
                </a:cubicBezTo>
                <a:cubicBezTo>
                  <a:pt x="29" y="143"/>
                  <a:pt x="16" y="130"/>
                  <a:pt x="0" y="114"/>
                </a:cubicBezTo>
                <a:lnTo>
                  <a:pt x="31" y="83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/>
          <a:lstStyle/>
          <a:p>
            <a:pPr marL="0" marR="0" lvl="0" indent="0" defTabSz="104261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34374" y="2460837"/>
            <a:ext cx="81096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</a:rPr>
              <a:t>Рассматриваются вопросы восстановления статуса 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бывших приграничных районов </a:t>
            </a:r>
          </a:p>
          <a:p>
            <a:r>
              <a:rPr lang="ru-RU" sz="1400" b="1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(</a:t>
            </a:r>
            <a:r>
              <a:rPr lang="ru-RU" sz="140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Катон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</a:rPr>
              <a:t>-Карагай, </a:t>
            </a:r>
            <a:r>
              <a:rPr lang="ru-RU" sz="140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Улкен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</a:rPr>
              <a:t>-Нарын, Курчум, </a:t>
            </a:r>
            <a:r>
              <a:rPr lang="ru-RU" sz="140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Маркаколь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lang="ru-RU" sz="1400" b="1" dirty="0" err="1">
                <a:latin typeface="Arial" panose="020B0604020202020204" pitchFamily="34" charset="0"/>
                <a:ea typeface="Times New Roman" panose="02020603050405020304" pitchFamily="18" charset="0"/>
              </a:rPr>
              <a:t>Маканчи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</a:rPr>
              <a:t> и др.)</a:t>
            </a:r>
            <a:endParaRPr lang="ru-RU" b="1" dirty="0"/>
          </a:p>
        </p:txBody>
      </p:sp>
      <p:cxnSp>
        <p:nvCxnSpPr>
          <p:cNvPr id="25" name="Straight Connector 32">
            <a:extLst>
              <a:ext uri="{FF2B5EF4-FFF2-40B4-BE49-F238E27FC236}">
                <a16:creationId xmlns:a16="http://schemas.microsoft.com/office/drawing/2014/main" xmlns="" id="{6C0B85D7-80A1-4B3A-96B4-E30488937587}"/>
              </a:ext>
            </a:extLst>
          </p:cNvPr>
          <p:cNvCxnSpPr/>
          <p:nvPr/>
        </p:nvCxnSpPr>
        <p:spPr>
          <a:xfrm>
            <a:off x="0" y="314352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Рисунок 11"/>
          <p:cNvPicPr>
            <a:picLocks noChangeAspect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4608" y="3377962"/>
            <a:ext cx="421280" cy="405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922074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одзаголовок 4">
            <a:extLst>
              <a:ext uri="{FF2B5EF4-FFF2-40B4-BE49-F238E27FC236}">
                <a16:creationId xmlns="" xmlns:a16="http://schemas.microsoft.com/office/drawing/2014/main" id="{3D9B65B1-E77D-8F65-3DD4-ED1B2C5D4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1697677"/>
            <a:ext cx="9144000" cy="1314450"/>
          </a:xfrm>
        </p:spPr>
        <p:txBody>
          <a:bodyPr anchor="ctr">
            <a:noAutofit/>
          </a:bodyPr>
          <a:lstStyle/>
          <a:p>
            <a:pPr marL="0" indent="0">
              <a:lnSpc>
                <a:spcPct val="100000"/>
              </a:lnSpc>
              <a:spcBef>
                <a:spcPts val="450"/>
              </a:spcBef>
              <a:buNone/>
            </a:pPr>
            <a:r>
              <a:rPr lang="ru-RU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706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tjZ14kAE.7eSgJ4ddu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tjZ14kAE.7eSgJ4ddu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O0Lj5xeEWwyXimCjxEsA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84</TotalTime>
  <Words>805</Words>
  <Application>Microsoft Office PowerPoint</Application>
  <PresentationFormat>Экран (16:9)</PresentationFormat>
  <Paragraphs>122</Paragraphs>
  <Slides>9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1_Тема Offic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ухтар Абуталип</dc:creator>
  <cp:lastModifiedBy>Bozshagulov_K</cp:lastModifiedBy>
  <cp:revision>827</cp:revision>
  <cp:lastPrinted>2023-05-24T05:28:31Z</cp:lastPrinted>
  <dcterms:created xsi:type="dcterms:W3CDTF">2022-12-05T15:21:27Z</dcterms:created>
  <dcterms:modified xsi:type="dcterms:W3CDTF">2023-05-29T06:44:27Z</dcterms:modified>
</cp:coreProperties>
</file>